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1"/>
  </p:notesMasterIdLst>
  <p:sldIdLst>
    <p:sldId id="257" r:id="rId2"/>
    <p:sldId id="271" r:id="rId3"/>
    <p:sldId id="259" r:id="rId4"/>
    <p:sldId id="260" r:id="rId5"/>
    <p:sldId id="267" r:id="rId6"/>
    <p:sldId id="269" r:id="rId7"/>
    <p:sldId id="272" r:id="rId8"/>
    <p:sldId id="270" r:id="rId9"/>
    <p:sldId id="268" r:id="rId10"/>
  </p:sldIdLst>
  <p:sldSz cx="9144000" cy="5143500" type="screen16x9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3E5E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4392" autoAdjust="0"/>
  </p:normalViewPr>
  <p:slideViewPr>
    <p:cSldViewPr snapToGrid="0">
      <p:cViewPr varScale="1">
        <p:scale>
          <a:sx n="142" d="100"/>
          <a:sy n="142" d="100"/>
        </p:scale>
        <p:origin x="750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00020C-8D7C-4561-B568-FBC8D0EAF1DF}" type="datetimeFigureOut">
              <a:rPr lang="en-US" smtClean="0"/>
              <a:t>2/28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DF7353F-A8B1-4751-A2C3-3554818E408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78709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ry Husain</a:t>
            </a:r>
          </a:p>
          <a:p>
            <a:r>
              <a:rPr lang="en-US" dirty="0"/>
              <a:t>Michal </a:t>
            </a:r>
            <a:r>
              <a:rPr lang="en-US" dirty="0" err="1"/>
              <a:t>Porubcin</a:t>
            </a:r>
            <a:endParaRPr lang="en-US" dirty="0"/>
          </a:p>
          <a:p>
            <a:r>
              <a:rPr lang="en-US" dirty="0"/>
              <a:t>Andrew Quijano</a:t>
            </a:r>
          </a:p>
          <a:p>
            <a:r>
              <a:rPr lang="en-US" dirty="0"/>
              <a:t>Bryce Yoo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F7353F-A8B1-4751-A2C3-3554818E4080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23138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pattFill prst="pct60">
          <a:fgClr>
            <a:schemeClr val="accent2">
              <a:lumMod val="7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0">
            <a:extLst>
              <a:ext uri="{FF2B5EF4-FFF2-40B4-BE49-F238E27FC236}">
                <a16:creationId xmlns:a16="http://schemas.microsoft.com/office/drawing/2014/main" id="{D53CF5EA-3DA4-4BC9-ACC6-F9C591743FA1}"/>
              </a:ext>
            </a:extLst>
          </p:cNvPr>
          <p:cNvSpPr/>
          <p:nvPr userDrawn="1"/>
        </p:nvSpPr>
        <p:spPr>
          <a:xfrm>
            <a:off x="904875" y="2736056"/>
            <a:ext cx="7315200" cy="960122"/>
          </a:xfrm>
          <a:prstGeom prst="rect">
            <a:avLst/>
          </a:prstGeom>
          <a:solidFill>
            <a:srgbClr val="FFFFFF"/>
          </a:solidFill>
          <a:ln w="6350" cap="rnd">
            <a:solidFill>
              <a:schemeClr val="accent1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Gill Sans MT"/>
                <a:ea typeface="Gill Sans MT"/>
                <a:cs typeface="Gill Sans MT"/>
                <a:sym typeface="Gill Sans MT"/>
              </a:defRPr>
            </a:pPr>
            <a:endParaRPr/>
          </a:p>
        </p:txBody>
      </p:sp>
      <p:sp>
        <p:nvSpPr>
          <p:cNvPr id="8" name="Rectangle 32">
            <a:extLst>
              <a:ext uri="{FF2B5EF4-FFF2-40B4-BE49-F238E27FC236}">
                <a16:creationId xmlns:a16="http://schemas.microsoft.com/office/drawing/2014/main" id="{273D8122-AFBD-4F16-B7E6-0E88CB5A1FBC}"/>
              </a:ext>
            </a:extLst>
          </p:cNvPr>
          <p:cNvSpPr/>
          <p:nvPr userDrawn="1"/>
        </p:nvSpPr>
        <p:spPr>
          <a:xfrm>
            <a:off x="914400" y="3786187"/>
            <a:ext cx="7315200" cy="514352"/>
          </a:xfrm>
          <a:prstGeom prst="rect">
            <a:avLst/>
          </a:prstGeom>
          <a:solidFill>
            <a:srgbClr val="FFFFFF"/>
          </a:solidFill>
          <a:ln w="6350" cap="rnd">
            <a:solidFill>
              <a:schemeClr val="accent2"/>
            </a:solidFill>
            <a:prstDash val="dash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Gill Sans MT"/>
                <a:ea typeface="Gill Sans MT"/>
                <a:cs typeface="Gill Sans MT"/>
                <a:sym typeface="Gill Sans MT"/>
              </a:defRPr>
            </a:pPr>
            <a:endParaRPr/>
          </a:p>
        </p:txBody>
      </p:sp>
      <p:sp>
        <p:nvSpPr>
          <p:cNvPr id="9" name="Rectangle 21">
            <a:extLst>
              <a:ext uri="{FF2B5EF4-FFF2-40B4-BE49-F238E27FC236}">
                <a16:creationId xmlns:a16="http://schemas.microsoft.com/office/drawing/2014/main" id="{6C6128E1-BE84-46D9-A3D3-BC86375E2C24}"/>
              </a:ext>
            </a:extLst>
          </p:cNvPr>
          <p:cNvSpPr/>
          <p:nvPr userDrawn="1"/>
        </p:nvSpPr>
        <p:spPr>
          <a:xfrm>
            <a:off x="904875" y="2736056"/>
            <a:ext cx="228600" cy="960122"/>
          </a:xfrm>
          <a:prstGeom prst="rect">
            <a:avLst/>
          </a:prstGeom>
          <a:solidFill>
            <a:schemeClr val="accent1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Gill Sans MT"/>
                <a:ea typeface="Gill Sans MT"/>
                <a:cs typeface="Gill Sans MT"/>
                <a:sym typeface="Gill Sans MT"/>
              </a:defRPr>
            </a:pPr>
            <a:endParaRPr/>
          </a:p>
        </p:txBody>
      </p:sp>
      <p:sp>
        <p:nvSpPr>
          <p:cNvPr id="10" name="Rectangle 31">
            <a:extLst>
              <a:ext uri="{FF2B5EF4-FFF2-40B4-BE49-F238E27FC236}">
                <a16:creationId xmlns:a16="http://schemas.microsoft.com/office/drawing/2014/main" id="{CD38D25A-4E98-4454-9846-05376F4C5343}"/>
              </a:ext>
            </a:extLst>
          </p:cNvPr>
          <p:cNvSpPr/>
          <p:nvPr userDrawn="1"/>
        </p:nvSpPr>
        <p:spPr>
          <a:xfrm>
            <a:off x="914400" y="3786187"/>
            <a:ext cx="228600" cy="514352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Gill Sans MT"/>
                <a:ea typeface="Gill Sans MT"/>
                <a:cs typeface="Gill Sans MT"/>
                <a:sym typeface="Gill Sans MT"/>
              </a:defRPr>
            </a:pPr>
            <a:endParaRPr/>
          </a:p>
        </p:txBody>
      </p:sp>
      <p:sp>
        <p:nvSpPr>
          <p:cNvPr id="11" name="Title Text">
            <a:extLst>
              <a:ext uri="{FF2B5EF4-FFF2-40B4-BE49-F238E27FC236}">
                <a16:creationId xmlns:a16="http://schemas.microsoft.com/office/drawing/2014/main" id="{8531B7D0-86CE-4DA0-9EF0-3A63382DAA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19200" y="2914650"/>
            <a:ext cx="6858000" cy="742950"/>
          </a:xfrm>
          <a:prstGeom prst="rect">
            <a:avLst/>
          </a:prstGeom>
        </p:spPr>
        <p:txBody>
          <a:bodyPr anchor="t"/>
          <a:lstStyle>
            <a:lvl1pPr algn="r">
              <a:lnSpc>
                <a:spcPct val="100000"/>
              </a:lnSpc>
              <a:defRPr sz="3200" b="1">
                <a:solidFill>
                  <a:srgbClr val="000000"/>
                </a:solidFill>
              </a:defRPr>
            </a:lvl1pPr>
          </a:lstStyle>
          <a:p>
            <a:r>
              <a:rPr dirty="0"/>
              <a:t>Title Text</a:t>
            </a:r>
          </a:p>
        </p:txBody>
      </p:sp>
      <p:sp>
        <p:nvSpPr>
          <p:cNvPr id="12" name="Body Level One…">
            <a:extLst>
              <a:ext uri="{FF2B5EF4-FFF2-40B4-BE49-F238E27FC236}">
                <a16:creationId xmlns:a16="http://schemas.microsoft.com/office/drawing/2014/main" id="{0D3AF114-5BD8-4007-8FFC-80B1ECA8B935}"/>
              </a:ext>
            </a:extLst>
          </p:cNvPr>
          <p:cNvSpPr>
            <a:spLocks noGrp="1"/>
          </p:cNvSpPr>
          <p:nvPr>
            <p:ph type="body" sz="quarter" idx="1" hasCustomPrompt="1"/>
          </p:nvPr>
        </p:nvSpPr>
        <p:spPr>
          <a:xfrm>
            <a:off x="1219200" y="3843337"/>
            <a:ext cx="6858000" cy="400052"/>
          </a:xfrm>
          <a:prstGeom prst="rect">
            <a:avLst/>
          </a:prstGeom>
        </p:spPr>
        <p:txBody>
          <a:bodyPr/>
          <a:lstStyle>
            <a:lvl1pPr marL="0" indent="0" algn="r">
              <a:spcBef>
                <a:spcPts val="600"/>
              </a:spcBef>
              <a:buClrTx/>
              <a:buSzTx/>
              <a:buFontTx/>
              <a:buNone/>
              <a:defRPr sz="2000">
                <a:solidFill>
                  <a:srgbClr val="464653"/>
                </a:solidFill>
                <a:latin typeface="Bookman Old Style"/>
                <a:ea typeface="Bookman Old Style"/>
                <a:cs typeface="Bookman Old Style"/>
                <a:sym typeface="Bookman Old Style"/>
              </a:defRPr>
            </a:lvl1pPr>
            <a:lvl2pPr marL="0" indent="0" algn="r">
              <a:spcBef>
                <a:spcPts val="600"/>
              </a:spcBef>
              <a:buClrTx/>
              <a:buSzTx/>
              <a:buFontTx/>
              <a:buNone/>
              <a:defRPr sz="2000">
                <a:solidFill>
                  <a:srgbClr val="464653"/>
                </a:solidFill>
                <a:latin typeface="Bookman Old Style"/>
                <a:ea typeface="Bookman Old Style"/>
                <a:cs typeface="Bookman Old Style"/>
                <a:sym typeface="Bookman Old Style"/>
              </a:defRPr>
            </a:lvl2pPr>
            <a:lvl3pPr marL="0" indent="0" algn="r">
              <a:spcBef>
                <a:spcPts val="600"/>
              </a:spcBef>
              <a:buClrTx/>
              <a:buSzTx/>
              <a:buFontTx/>
              <a:buNone/>
              <a:defRPr sz="2000">
                <a:solidFill>
                  <a:srgbClr val="464653"/>
                </a:solidFill>
                <a:latin typeface="Bookman Old Style"/>
                <a:ea typeface="Bookman Old Style"/>
                <a:cs typeface="Bookman Old Style"/>
                <a:sym typeface="Bookman Old Style"/>
              </a:defRPr>
            </a:lvl3pPr>
            <a:lvl4pPr marL="0" indent="0" algn="r">
              <a:spcBef>
                <a:spcPts val="600"/>
              </a:spcBef>
              <a:buClrTx/>
              <a:buSzTx/>
              <a:buFontTx/>
              <a:buNone/>
              <a:defRPr sz="2000">
                <a:solidFill>
                  <a:srgbClr val="464653"/>
                </a:solidFill>
                <a:latin typeface="Bookman Old Style"/>
                <a:ea typeface="Bookman Old Style"/>
                <a:cs typeface="Bookman Old Style"/>
                <a:sym typeface="Bookman Old Style"/>
              </a:defRPr>
            </a:lvl4pPr>
            <a:lvl5pPr marL="0" indent="0" algn="r">
              <a:spcBef>
                <a:spcPts val="600"/>
              </a:spcBef>
              <a:buClrTx/>
              <a:buSzTx/>
              <a:buFontTx/>
              <a:buNone/>
              <a:defRPr sz="2000">
                <a:solidFill>
                  <a:srgbClr val="464653"/>
                </a:solidFill>
                <a:latin typeface="Bookman Old Style"/>
                <a:ea typeface="Bookman Old Style"/>
                <a:cs typeface="Bookman Old Style"/>
                <a:sym typeface="Bookman Old Style"/>
              </a:defRPr>
            </a:lvl5pPr>
          </a:lstStyle>
          <a:p>
            <a:r>
              <a:rPr dirty="0"/>
              <a:t>Body Level One</a:t>
            </a:r>
          </a:p>
        </p:txBody>
      </p:sp>
    </p:spTree>
    <p:extLst>
      <p:ext uri="{BB962C8B-B14F-4D97-AF65-F5344CB8AC3E}">
        <p14:creationId xmlns:p14="http://schemas.microsoft.com/office/powerpoint/2010/main" val="20633665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6871" y="869816"/>
            <a:ext cx="8191794" cy="368108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D207DA6-9B4E-4193-B07C-71BC498B69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49" y="4786112"/>
            <a:ext cx="3086100" cy="273844"/>
          </a:xfrm>
          <a:prstGeom prst="rect">
            <a:avLst/>
          </a:prstGeom>
        </p:spPr>
        <p:txBody>
          <a:bodyPr/>
          <a:lstStyle>
            <a:lvl1pPr>
              <a:defRPr sz="700" i="1">
                <a:latin typeface="Bookman Old Style" panose="02050604050505020204" pitchFamily="18" charset="0"/>
              </a:defRPr>
            </a:lvl1pPr>
          </a:lstStyle>
          <a:p>
            <a:r>
              <a:rPr lang="en-US" dirty="0"/>
              <a:t>Group Fou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D143AA-5843-473D-8DFD-1B0058A929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51E8D666-686F-4671-A75C-F986B3D360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396253" y="4675491"/>
            <a:ext cx="351492" cy="221242"/>
          </a:xfrm>
          <a:prstGeom prst="rect">
            <a:avLst/>
          </a:prstGeom>
        </p:spPr>
        <p:txBody>
          <a:bodyPr/>
          <a:lstStyle>
            <a:lvl1pPr algn="ctr">
              <a:defRPr sz="1000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fld id="{F2407EE3-A7AD-4D85-AA70-E0A9F1A7BE8D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1A87CA4E-B653-4582-9A4D-FB8100E6BEF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120" y="4715247"/>
            <a:ext cx="2651300" cy="322575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622862F4-BAC9-4056-8B34-D8B287CC7204}"/>
              </a:ext>
            </a:extLst>
          </p:cNvPr>
          <p:cNvSpPr txBox="1"/>
          <p:nvPr userDrawn="1"/>
        </p:nvSpPr>
        <p:spPr>
          <a:xfrm>
            <a:off x="7735736" y="4644039"/>
            <a:ext cx="1129547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500" b="1" dirty="0">
                <a:latin typeface="Bookman Old Style" panose="02050604050505020204" pitchFamily="18" charset="0"/>
              </a:rPr>
              <a:t>ATM</a:t>
            </a:r>
          </a:p>
        </p:txBody>
      </p:sp>
    </p:spTree>
    <p:extLst>
      <p:ext uri="{BB962C8B-B14F-4D97-AF65-F5344CB8AC3E}">
        <p14:creationId xmlns:p14="http://schemas.microsoft.com/office/powerpoint/2010/main" val="351757942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bg>
      <p:bgPr>
        <a:solidFill>
          <a:srgbClr val="E3E5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6871" y="869816"/>
            <a:ext cx="8191794" cy="368108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D207DA6-9B4E-4193-B07C-71BC498B69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49" y="4786112"/>
            <a:ext cx="3086100" cy="273844"/>
          </a:xfrm>
          <a:prstGeom prst="rect">
            <a:avLst/>
          </a:prstGeom>
        </p:spPr>
        <p:txBody>
          <a:bodyPr/>
          <a:lstStyle>
            <a:lvl1pPr>
              <a:defRPr sz="700" i="1">
                <a:latin typeface="Bookman Old Style" panose="02050604050505020204" pitchFamily="18" charset="0"/>
              </a:defRPr>
            </a:lvl1pPr>
          </a:lstStyle>
          <a:p>
            <a:r>
              <a:rPr lang="en-US" dirty="0"/>
              <a:t>Group Four</a:t>
            </a:r>
          </a:p>
        </p:txBody>
      </p:sp>
      <p:sp>
        <p:nvSpPr>
          <p:cNvPr id="10" name="Title Text">
            <a:extLst>
              <a:ext uri="{FF2B5EF4-FFF2-40B4-BE49-F238E27FC236}">
                <a16:creationId xmlns:a16="http://schemas.microsoft.com/office/drawing/2014/main" id="{49BCBD61-4E22-4CA9-BDB7-E308EBB801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101773"/>
            <a:ext cx="8229600" cy="552452"/>
          </a:xfrm>
          <a:prstGeom prst="rect">
            <a:avLst/>
          </a:prstGeom>
        </p:spPr>
        <p:txBody>
          <a:bodyPr/>
          <a:lstStyle/>
          <a:p>
            <a:r>
              <a:rPr dirty="0"/>
              <a:t>Title Tex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DF74222-A697-4EAE-B1F4-C404D585ED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396253" y="4675491"/>
            <a:ext cx="351492" cy="221242"/>
          </a:xfrm>
          <a:prstGeom prst="rect">
            <a:avLst/>
          </a:prstGeom>
        </p:spPr>
        <p:txBody>
          <a:bodyPr/>
          <a:lstStyle>
            <a:lvl1pPr algn="ctr">
              <a:defRPr sz="1000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fld id="{F2407EE3-A7AD-4D85-AA70-E0A9F1A7BE8D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2491204-3772-492F-96F8-65B7F4CEB8D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120" y="4715779"/>
            <a:ext cx="2651300" cy="322575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81AF7A15-DE7E-4C2E-B348-9A5AAA4AF7D2}"/>
              </a:ext>
            </a:extLst>
          </p:cNvPr>
          <p:cNvSpPr txBox="1"/>
          <p:nvPr userDrawn="1"/>
        </p:nvSpPr>
        <p:spPr>
          <a:xfrm>
            <a:off x="7735736" y="4644039"/>
            <a:ext cx="1129547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500" b="1" dirty="0">
                <a:latin typeface="Bookman Old Style" panose="02050604050505020204" pitchFamily="18" charset="0"/>
              </a:rPr>
              <a:t>ATM</a:t>
            </a:r>
          </a:p>
        </p:txBody>
      </p:sp>
    </p:spTree>
    <p:extLst>
      <p:ext uri="{BB962C8B-B14F-4D97-AF65-F5344CB8AC3E}">
        <p14:creationId xmlns:p14="http://schemas.microsoft.com/office/powerpoint/2010/main" val="2770993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Text">
            <a:extLst>
              <a:ext uri="{FF2B5EF4-FFF2-40B4-BE49-F238E27FC236}">
                <a16:creationId xmlns:a16="http://schemas.microsoft.com/office/drawing/2014/main" id="{A62D8ED9-3C93-4C71-8420-470A2E24E5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101773"/>
            <a:ext cx="8229600" cy="552452"/>
          </a:xfrm>
          <a:prstGeom prst="rect">
            <a:avLst/>
          </a:prstGeom>
        </p:spPr>
        <p:txBody>
          <a:bodyPr/>
          <a:lstStyle/>
          <a:p>
            <a:r>
              <a:rPr dirty="0"/>
              <a:t>Title Text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D0CD9E31-FA34-4797-A841-8B13E0BC93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49" y="4786112"/>
            <a:ext cx="3086100" cy="273844"/>
          </a:xfrm>
          <a:prstGeom prst="rect">
            <a:avLst/>
          </a:prstGeom>
        </p:spPr>
        <p:txBody>
          <a:bodyPr/>
          <a:lstStyle>
            <a:lvl1pPr>
              <a:defRPr sz="700" i="1">
                <a:latin typeface="Bookman Old Style" panose="02050604050505020204" pitchFamily="18" charset="0"/>
              </a:defRPr>
            </a:lvl1pPr>
          </a:lstStyle>
          <a:p>
            <a:r>
              <a:rPr lang="en-US" dirty="0"/>
              <a:t>Group Four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B1756D4-156D-4764-A1A8-D12680DEC9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396253" y="4675491"/>
            <a:ext cx="351492" cy="221242"/>
          </a:xfrm>
          <a:prstGeom prst="rect">
            <a:avLst/>
          </a:prstGeom>
        </p:spPr>
        <p:txBody>
          <a:bodyPr/>
          <a:lstStyle>
            <a:lvl1pPr algn="ctr">
              <a:defRPr sz="1000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fld id="{F2407EE3-A7AD-4D85-AA70-E0A9F1A7BE8D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20FED3A-497F-418C-A3BA-3F29608D309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120" y="4715247"/>
            <a:ext cx="2651300" cy="322575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711E641F-6960-4D25-B9C3-A18998CB6323}"/>
              </a:ext>
            </a:extLst>
          </p:cNvPr>
          <p:cNvSpPr txBox="1"/>
          <p:nvPr userDrawn="1"/>
        </p:nvSpPr>
        <p:spPr>
          <a:xfrm>
            <a:off x="7735736" y="4644039"/>
            <a:ext cx="1129547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500" b="1" dirty="0">
                <a:latin typeface="Bookman Old Style" panose="02050604050505020204" pitchFamily="18" charset="0"/>
              </a:rPr>
              <a:t>ATM</a:t>
            </a:r>
          </a:p>
        </p:txBody>
      </p:sp>
    </p:spTree>
    <p:extLst>
      <p:ext uri="{BB962C8B-B14F-4D97-AF65-F5344CB8AC3E}">
        <p14:creationId xmlns:p14="http://schemas.microsoft.com/office/powerpoint/2010/main" val="92223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651FA3F-253D-44CB-BF84-422E1C3E364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Straight Connector 28">
            <a:extLst>
              <a:ext uri="{FF2B5EF4-FFF2-40B4-BE49-F238E27FC236}">
                <a16:creationId xmlns:a16="http://schemas.microsoft.com/office/drawing/2014/main" id="{6C705744-3CF5-468A-845D-6C69D7EBBC21}"/>
              </a:ext>
            </a:extLst>
          </p:cNvPr>
          <p:cNvSpPr/>
          <p:nvPr userDrawn="1"/>
        </p:nvSpPr>
        <p:spPr>
          <a:xfrm>
            <a:off x="454382" y="742950"/>
            <a:ext cx="8229602" cy="0"/>
          </a:xfrm>
          <a:prstGeom prst="line">
            <a:avLst/>
          </a:prstGeom>
          <a:ln>
            <a:solidFill>
              <a:schemeClr val="accent2"/>
            </a:solidFill>
            <a:prstDash val="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8" name="Title Text">
            <a:extLst>
              <a:ext uri="{FF2B5EF4-FFF2-40B4-BE49-F238E27FC236}">
                <a16:creationId xmlns:a16="http://schemas.microsoft.com/office/drawing/2014/main" id="{9590D4F9-DD36-45BD-809F-2617B2A100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101773"/>
            <a:ext cx="8229600" cy="55245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8" tIns="45718" rIns="45718" bIns="45718" anchor="ctr">
            <a:normAutofit/>
          </a:bodyPr>
          <a:lstStyle/>
          <a:p>
            <a:r>
              <a:rPr dirty="0"/>
              <a:t>Title Text</a:t>
            </a:r>
          </a:p>
        </p:txBody>
      </p:sp>
      <p:sp>
        <p:nvSpPr>
          <p:cNvPr id="10" name="Body Level One…">
            <a:extLst>
              <a:ext uri="{FF2B5EF4-FFF2-40B4-BE49-F238E27FC236}">
                <a16:creationId xmlns:a16="http://schemas.microsoft.com/office/drawing/2014/main" id="{3D26E3EA-B91A-4E6E-B3F9-DBF62C2A0E3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00" y="887730"/>
            <a:ext cx="8229600" cy="37414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8" tIns="45718" rIns="45718" bIns="45718">
            <a:normAutofit/>
          </a:bodyPr>
          <a:lstStyle/>
          <a:p>
            <a:r>
              <a:rPr dirty="0"/>
              <a:t>Body Level One</a:t>
            </a:r>
          </a:p>
          <a:p>
            <a:pPr lvl="1"/>
            <a:r>
              <a:rPr dirty="0"/>
              <a:t>Body Level Two</a:t>
            </a:r>
          </a:p>
          <a:p>
            <a:pPr lvl="2"/>
            <a:r>
              <a:rPr dirty="0"/>
              <a:t>Body Level Three</a:t>
            </a:r>
          </a:p>
          <a:p>
            <a:pPr lvl="3"/>
            <a:r>
              <a:rPr dirty="0"/>
              <a:t>Body Level Four</a:t>
            </a:r>
          </a:p>
          <a:p>
            <a:pPr lvl="4"/>
            <a:r>
              <a:rPr dirty="0"/>
              <a:t>Body Level Five</a:t>
            </a:r>
          </a:p>
        </p:txBody>
      </p:sp>
      <p:sp>
        <p:nvSpPr>
          <p:cNvPr id="11" name="Straight Connector 28">
            <a:extLst>
              <a:ext uri="{FF2B5EF4-FFF2-40B4-BE49-F238E27FC236}">
                <a16:creationId xmlns:a16="http://schemas.microsoft.com/office/drawing/2014/main" id="{05297C41-4F2A-4EFD-A3A5-3F99BE2E6E94}"/>
              </a:ext>
            </a:extLst>
          </p:cNvPr>
          <p:cNvSpPr/>
          <p:nvPr userDrawn="1"/>
        </p:nvSpPr>
        <p:spPr>
          <a:xfrm>
            <a:off x="454382" y="4606831"/>
            <a:ext cx="8229602" cy="0"/>
          </a:xfrm>
          <a:prstGeom prst="line">
            <a:avLst/>
          </a:prstGeom>
          <a:ln>
            <a:solidFill>
              <a:srgbClr val="9FB8CD"/>
            </a:solidFill>
            <a:prstDash val="dash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C4E400A-0195-4702-87D7-374780A58DE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Group four</a:t>
            </a:r>
          </a:p>
        </p:txBody>
      </p:sp>
    </p:spTree>
    <p:extLst>
      <p:ext uri="{BB962C8B-B14F-4D97-AF65-F5344CB8AC3E}">
        <p14:creationId xmlns:p14="http://schemas.microsoft.com/office/powerpoint/2010/main" val="9575766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8" r:id="rId3"/>
    <p:sldLayoutId id="2147483666" r:id="rId4"/>
  </p:sldLayoutIdLst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Bookman Old Style" panose="02050604050505020204" pitchFamily="18" charset="0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Clr>
          <a:schemeClr val="accent1"/>
        </a:buClr>
        <a:buSzPct val="75000"/>
        <a:buFont typeface="Wingdings" panose="05000000000000000000" pitchFamily="2" charset="2"/>
        <a:buChar char="Ø"/>
        <a:defRPr sz="2100" kern="1200">
          <a:solidFill>
            <a:schemeClr val="tx1"/>
          </a:solidFill>
          <a:latin typeface="Bookman Old Style" panose="02050604050505020204" pitchFamily="18" charset="0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Clr>
          <a:schemeClr val="accent1"/>
        </a:buClr>
        <a:buSzPct val="75000"/>
        <a:buFont typeface="Wingdings" panose="05000000000000000000" pitchFamily="2" charset="2"/>
        <a:buChar char="Ø"/>
        <a:defRPr sz="1800" kern="1200">
          <a:solidFill>
            <a:schemeClr val="tx1"/>
          </a:solidFill>
          <a:latin typeface="Bookman Old Style" panose="02050604050505020204" pitchFamily="18" charset="0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Clr>
          <a:schemeClr val="accent1"/>
        </a:buClr>
        <a:buSzPct val="75000"/>
        <a:buFont typeface="Wingdings" panose="05000000000000000000" pitchFamily="2" charset="2"/>
        <a:buChar char="Ø"/>
        <a:defRPr sz="1500" kern="1200">
          <a:solidFill>
            <a:schemeClr val="tx1"/>
          </a:solidFill>
          <a:latin typeface="Bookman Old Style" panose="02050604050505020204" pitchFamily="18" charset="0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Clr>
          <a:schemeClr val="accent1"/>
        </a:buClr>
        <a:buSzPct val="75000"/>
        <a:buFont typeface="Wingdings" panose="05000000000000000000" pitchFamily="2" charset="2"/>
        <a:buChar char="Ø"/>
        <a:defRPr sz="1350" kern="1200">
          <a:solidFill>
            <a:schemeClr val="tx1"/>
          </a:solidFill>
          <a:latin typeface="Bookman Old Style" panose="02050604050505020204" pitchFamily="18" charset="0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Clr>
          <a:schemeClr val="accent1"/>
        </a:buClr>
        <a:buSzPct val="75000"/>
        <a:buFont typeface="Wingdings" panose="05000000000000000000" pitchFamily="2" charset="2"/>
        <a:buChar char="Ø"/>
        <a:defRPr sz="1350" kern="1200">
          <a:solidFill>
            <a:schemeClr val="tx1"/>
          </a:solidFill>
          <a:latin typeface="Bookman Old Style" panose="02050604050505020204" pitchFamily="18" charset="0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slideLayout" Target="../slideLayouts/slideLayout4.xml"/><Relationship Id="rId4" Type="http://schemas.openxmlformats.org/officeDocument/2006/relationships/tags" Target="../tags/tag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140810-8803-40D5-9B58-9BEEF2542B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/>
              <a:t>ATM Projec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1B361F6-B61C-4D17-9015-4E351343A79E}"/>
              </a:ext>
            </a:extLst>
          </p:cNvPr>
          <p:cNvSpPr>
            <a:spLocks noGrp="1"/>
          </p:cNvSpPr>
          <p:nvPr>
            <p:ph type="body" sz="quarter" idx="1"/>
          </p:nvPr>
        </p:nvSpPr>
        <p:spPr>
          <a:xfrm>
            <a:off x="1219200" y="3901815"/>
            <a:ext cx="6858000" cy="400052"/>
          </a:xfrm>
        </p:spPr>
        <p:txBody>
          <a:bodyPr>
            <a:normAutofit fontScale="85000" lnSpcReduction="10000"/>
          </a:bodyPr>
          <a:lstStyle/>
          <a:p>
            <a:r>
              <a:rPr lang="en-US" dirty="0"/>
              <a:t>Mary Husain | Michal </a:t>
            </a:r>
            <a:r>
              <a:rPr lang="en-US" dirty="0" err="1"/>
              <a:t>Porubcin</a:t>
            </a:r>
            <a:r>
              <a:rPr lang="en-US" dirty="0"/>
              <a:t> | Andrew Quijano | Bryce Yoo</a:t>
            </a:r>
          </a:p>
        </p:txBody>
      </p:sp>
      <p:pic>
        <p:nvPicPr>
          <p:cNvPr id="4" name="Picture 2" descr="Image result for ATM">
            <a:extLst>
              <a:ext uri="{FF2B5EF4-FFF2-40B4-BE49-F238E27FC236}">
                <a16:creationId xmlns:a16="http://schemas.microsoft.com/office/drawing/2014/main" id="{63530E56-2980-4A62-82A5-25ED89210E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24758" y="356405"/>
            <a:ext cx="2094484" cy="2094484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2135782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14E3BD-478F-4882-A883-9D5A9E2915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view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CF93BED-3854-4775-8325-418CCAA2B4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Four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8E7D2B-BFEF-4415-B5FA-2A7E5F537E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396253" y="4696755"/>
            <a:ext cx="351492" cy="221242"/>
          </a:xfrm>
        </p:spPr>
        <p:txBody>
          <a:bodyPr/>
          <a:lstStyle/>
          <a:p>
            <a:fld id="{F2407EE3-A7AD-4D85-AA70-E0A9F1A7BE8D}" type="slidenum">
              <a:rPr lang="en-US" smtClean="0"/>
              <a:pPr/>
              <a:t>2</a:t>
            </a:fld>
            <a:endParaRPr lang="en-US" dirty="0"/>
          </a:p>
        </p:txBody>
      </p:sp>
      <p:grpSp>
        <p:nvGrpSpPr>
          <p:cNvPr id="5" name="Group 12">
            <a:extLst>
              <a:ext uri="{FF2B5EF4-FFF2-40B4-BE49-F238E27FC236}">
                <a16:creationId xmlns:a16="http://schemas.microsoft.com/office/drawing/2014/main" id="{F58107D9-5A6C-46B3-B0CE-2C9800ED0535}"/>
              </a:ext>
            </a:extLst>
          </p:cNvPr>
          <p:cNvGrpSpPr>
            <a:grpSpLocks/>
          </p:cNvGrpSpPr>
          <p:nvPr/>
        </p:nvGrpSpPr>
        <p:grpSpPr bwMode="auto">
          <a:xfrm>
            <a:off x="1179713" y="873510"/>
            <a:ext cx="1660029" cy="3600400"/>
            <a:chOff x="300" y="872"/>
            <a:chExt cx="1847" cy="3834"/>
          </a:xfrm>
        </p:grpSpPr>
        <p:sp>
          <p:nvSpPr>
            <p:cNvPr id="6" name="Text Box 10">
              <a:extLst>
                <a:ext uri="{FF2B5EF4-FFF2-40B4-BE49-F238E27FC236}">
                  <a16:creationId xmlns:a16="http://schemas.microsoft.com/office/drawing/2014/main" id="{7D48EB70-E8D2-4B18-8145-A2CF3305AC4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00" y="872"/>
              <a:ext cx="1847" cy="199"/>
            </a:xfrm>
            <a:prstGeom prst="rect">
              <a:avLst/>
            </a:prstGeom>
            <a:solidFill>
              <a:srgbClr val="002060"/>
            </a:solidFill>
            <a:ln w="12700" algn="ctr">
              <a:solidFill>
                <a:srgbClr val="002060"/>
              </a:solidFill>
              <a:miter lim="800000"/>
              <a:headEnd/>
              <a:tailEnd type="none" w="sm" len="med"/>
            </a:ln>
          </p:spPr>
          <p:txBody>
            <a:bodyPr lIns="30089" tIns="30089" rIns="30089" bIns="30089" anchor="ctr" anchorCtr="1"/>
            <a:lstStyle/>
            <a:p>
              <a:pPr algn="ctr" defTabSz="717911"/>
              <a:r>
                <a:rPr lang="en-US" sz="1050" b="1" dirty="0">
                  <a:solidFill>
                    <a:srgbClr val="FFFFFF"/>
                  </a:solidFill>
                </a:rPr>
                <a:t>Core Functionality</a:t>
              </a: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6DC6B19D-4908-43EA-9338-A9ED31448F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0" y="1071"/>
              <a:ext cx="1847" cy="3635"/>
            </a:xfrm>
            <a:prstGeom prst="rect">
              <a:avLst/>
            </a:prstGeom>
            <a:noFill/>
            <a:ln w="12700" algn="ctr">
              <a:solidFill>
                <a:srgbClr val="002060"/>
              </a:solidFill>
              <a:miter lim="800000"/>
              <a:headEnd/>
              <a:tailEnd/>
            </a:ln>
          </p:spPr>
          <p:txBody>
            <a:bodyPr lIns="30089" tIns="30089" rIns="30089" bIns="30089"/>
            <a:lstStyle/>
            <a:p>
              <a:pPr marL="171450" indent="-171450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/>
              </a:pPr>
              <a:r>
                <a:rPr lang="nl-NL" sz="1200" dirty="0">
                  <a:solidFill>
                    <a:srgbClr val="002776"/>
                  </a:solidFill>
                  <a:latin typeface="Arial"/>
                </a:rPr>
                <a:t>Online ATM</a:t>
              </a:r>
              <a:endParaRPr lang="nl-NL" sz="1200" dirty="0">
                <a:solidFill>
                  <a:srgbClr val="002776"/>
                </a:solidFill>
                <a:latin typeface="Arial"/>
                <a:cs typeface="+mn-cs"/>
              </a:endParaRPr>
            </a:p>
            <a:p>
              <a:pPr marL="171450" indent="-171450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/>
              </a:pPr>
              <a:r>
                <a:rPr lang="nl-NL" sz="1200" dirty="0">
                  <a:solidFill>
                    <a:srgbClr val="002776"/>
                  </a:solidFill>
                  <a:latin typeface="Arial"/>
                  <a:cs typeface="+mn-cs"/>
                </a:rPr>
                <a:t>User Accounts</a:t>
              </a:r>
            </a:p>
            <a:p>
              <a:pPr marL="171450" indent="-171450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/>
              </a:pPr>
              <a:r>
                <a:rPr lang="nl-NL" sz="1200" dirty="0">
                  <a:solidFill>
                    <a:srgbClr val="002776"/>
                  </a:solidFill>
                  <a:latin typeface="Arial"/>
                </a:rPr>
                <a:t>Tools &amp; Services</a:t>
              </a:r>
            </a:p>
          </p:txBody>
        </p:sp>
      </p:grpSp>
      <p:grpSp>
        <p:nvGrpSpPr>
          <p:cNvPr id="8" name="Group 12">
            <a:extLst>
              <a:ext uri="{FF2B5EF4-FFF2-40B4-BE49-F238E27FC236}">
                <a16:creationId xmlns:a16="http://schemas.microsoft.com/office/drawing/2014/main" id="{57D0B560-DDB3-4D32-92F6-C46A95C89A17}"/>
              </a:ext>
            </a:extLst>
          </p:cNvPr>
          <p:cNvGrpSpPr>
            <a:grpSpLocks/>
          </p:cNvGrpSpPr>
          <p:nvPr/>
        </p:nvGrpSpPr>
        <p:grpSpPr bwMode="auto">
          <a:xfrm>
            <a:off x="2887034" y="873510"/>
            <a:ext cx="1661319" cy="3600400"/>
            <a:chOff x="300" y="872"/>
            <a:chExt cx="1847" cy="3834"/>
          </a:xfrm>
        </p:grpSpPr>
        <p:sp>
          <p:nvSpPr>
            <p:cNvPr id="9" name="Text Box 10">
              <a:extLst>
                <a:ext uri="{FF2B5EF4-FFF2-40B4-BE49-F238E27FC236}">
                  <a16:creationId xmlns:a16="http://schemas.microsoft.com/office/drawing/2014/main" id="{BE72C895-12BC-4CA4-A01C-06BD26BA1DE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00" y="872"/>
              <a:ext cx="1847" cy="199"/>
            </a:xfrm>
            <a:prstGeom prst="rect">
              <a:avLst/>
            </a:prstGeom>
            <a:solidFill>
              <a:srgbClr val="002060"/>
            </a:solidFill>
            <a:ln w="12700" algn="ctr">
              <a:solidFill>
                <a:srgbClr val="002060"/>
              </a:solidFill>
              <a:miter lim="800000"/>
              <a:headEnd/>
              <a:tailEnd type="none" w="sm" len="med"/>
            </a:ln>
          </p:spPr>
          <p:txBody>
            <a:bodyPr lIns="30089" tIns="30089" rIns="30089" bIns="30089" anchor="ctr" anchorCtr="1"/>
            <a:lstStyle/>
            <a:p>
              <a:pPr algn="ctr" defTabSz="717911"/>
              <a:r>
                <a:rPr lang="en-US" sz="1050" b="1" dirty="0">
                  <a:solidFill>
                    <a:srgbClr val="FFFFFF"/>
                  </a:solidFill>
                </a:rPr>
                <a:t>User Interface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4F0B7552-6CA1-45BD-B2E3-DBFF8EE307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0" y="1071"/>
              <a:ext cx="1847" cy="3635"/>
            </a:xfrm>
            <a:prstGeom prst="rect">
              <a:avLst/>
            </a:prstGeom>
            <a:noFill/>
            <a:ln w="12700" algn="ctr">
              <a:solidFill>
                <a:srgbClr val="002060"/>
              </a:solidFill>
              <a:miter lim="800000"/>
              <a:headEnd/>
              <a:tailEnd/>
            </a:ln>
          </p:spPr>
          <p:txBody>
            <a:bodyPr lIns="30089" tIns="30089" rIns="30089" bIns="30089"/>
            <a:lstStyle/>
            <a:p>
              <a:pPr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defRPr/>
              </a:pPr>
              <a:r>
                <a:rPr lang="nl-NL" sz="1050" dirty="0" err="1">
                  <a:solidFill>
                    <a:srgbClr val="002776"/>
                  </a:solidFill>
                  <a:latin typeface="Arial"/>
                  <a:cs typeface="+mn-cs"/>
                </a:rPr>
                <a:t>Paragraph</a:t>
              </a:r>
              <a:r>
                <a:rPr lang="nl-NL" sz="1050" dirty="0">
                  <a:solidFill>
                    <a:srgbClr val="002776"/>
                  </a:solidFill>
                  <a:latin typeface="Arial"/>
                  <a:cs typeface="+mn-cs"/>
                </a:rPr>
                <a:t> (</a:t>
              </a:r>
              <a:r>
                <a:rPr lang="nl-NL" sz="1050" dirty="0" err="1">
                  <a:solidFill>
                    <a:srgbClr val="002776"/>
                  </a:solidFill>
                  <a:latin typeface="Arial"/>
                  <a:cs typeface="+mn-cs"/>
                </a:rPr>
                <a:t>if</a:t>
              </a:r>
              <a:r>
                <a:rPr lang="nl-NL" sz="1050" dirty="0">
                  <a:solidFill>
                    <a:srgbClr val="002776"/>
                  </a:solidFill>
                  <a:latin typeface="Arial"/>
                  <a:cs typeface="+mn-cs"/>
                </a:rPr>
                <a:t> </a:t>
              </a:r>
              <a:r>
                <a:rPr lang="nl-NL" sz="1050" dirty="0" err="1">
                  <a:solidFill>
                    <a:srgbClr val="002776"/>
                  </a:solidFill>
                  <a:latin typeface="Arial"/>
                  <a:cs typeface="+mn-cs"/>
                </a:rPr>
                <a:t>not</a:t>
              </a:r>
              <a:r>
                <a:rPr lang="nl-NL" sz="1050" dirty="0">
                  <a:solidFill>
                    <a:srgbClr val="002776"/>
                  </a:solidFill>
                  <a:latin typeface="Arial"/>
                  <a:cs typeface="+mn-cs"/>
                </a:rPr>
                <a:t> </a:t>
              </a:r>
              <a:r>
                <a:rPr lang="nl-NL" sz="1050" dirty="0" err="1">
                  <a:solidFill>
                    <a:srgbClr val="002776"/>
                  </a:solidFill>
                  <a:latin typeface="Arial"/>
                  <a:cs typeface="+mn-cs"/>
                </a:rPr>
                <a:t>needed</a:t>
              </a:r>
              <a:r>
                <a:rPr lang="nl-NL" sz="1050" dirty="0">
                  <a:solidFill>
                    <a:srgbClr val="002776"/>
                  </a:solidFill>
                  <a:latin typeface="Arial"/>
                  <a:cs typeface="+mn-cs"/>
                </a:rPr>
                <a:t>, delete)</a:t>
              </a:r>
            </a:p>
            <a:p>
              <a:pPr marL="143246" lvl="1" indent="-143246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r>
                <a:rPr lang="nl-NL" sz="1050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Bullet</a:t>
              </a:r>
            </a:p>
            <a:p>
              <a:pPr marL="280895" lvl="2" indent="-137651" defTabSz="718463">
                <a:lnSpc>
                  <a:spcPct val="106000"/>
                </a:lnSpc>
                <a:spcBef>
                  <a:spcPts val="432"/>
                </a:spcBef>
                <a:spcAft>
                  <a:spcPts val="0"/>
                </a:spcAft>
                <a:buFont typeface="Arial" charset="0"/>
                <a:buChar char="‒"/>
                <a:defRPr/>
              </a:pPr>
              <a:r>
                <a:rPr lang="nl-NL" sz="900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Dash</a:t>
              </a:r>
            </a:p>
            <a:p>
              <a:pPr marL="424139" lvl="3" indent="-143246" defTabSz="718463">
                <a:lnSpc>
                  <a:spcPct val="106000"/>
                </a:lnSpc>
                <a:spcBef>
                  <a:spcPts val="432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r>
                <a:rPr lang="nl-NL" sz="900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Subbullet</a:t>
              </a:r>
            </a:p>
            <a:p>
              <a:pPr marL="269705" indent="-269705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defRPr/>
              </a:pPr>
              <a:endParaRPr lang="nl-NL" sz="1050" dirty="0">
                <a:solidFill>
                  <a:srgbClr val="002776"/>
                </a:solidFill>
                <a:latin typeface="Arial"/>
                <a:cs typeface="+mn-cs"/>
              </a:endParaRPr>
            </a:p>
          </p:txBody>
        </p:sp>
      </p:grpSp>
      <p:grpSp>
        <p:nvGrpSpPr>
          <p:cNvPr id="11" name="Group 12">
            <a:extLst>
              <a:ext uri="{FF2B5EF4-FFF2-40B4-BE49-F238E27FC236}">
                <a16:creationId xmlns:a16="http://schemas.microsoft.com/office/drawing/2014/main" id="{BFACC9D3-1342-415B-9FCC-B0B2367916C3}"/>
              </a:ext>
            </a:extLst>
          </p:cNvPr>
          <p:cNvGrpSpPr>
            <a:grpSpLocks/>
          </p:cNvGrpSpPr>
          <p:nvPr/>
        </p:nvGrpSpPr>
        <p:grpSpPr bwMode="auto">
          <a:xfrm>
            <a:off x="4595648" y="873510"/>
            <a:ext cx="1661319" cy="3600400"/>
            <a:chOff x="300" y="872"/>
            <a:chExt cx="1847" cy="3834"/>
          </a:xfrm>
        </p:grpSpPr>
        <p:sp>
          <p:nvSpPr>
            <p:cNvPr id="12" name="Text Box 10">
              <a:extLst>
                <a:ext uri="{FF2B5EF4-FFF2-40B4-BE49-F238E27FC236}">
                  <a16:creationId xmlns:a16="http://schemas.microsoft.com/office/drawing/2014/main" id="{7B8C788B-9707-44A0-AB49-DB0A194D082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00" y="872"/>
              <a:ext cx="1847" cy="199"/>
            </a:xfrm>
            <a:prstGeom prst="rect">
              <a:avLst/>
            </a:prstGeom>
            <a:solidFill>
              <a:srgbClr val="002060"/>
            </a:solidFill>
            <a:ln w="12700" algn="ctr">
              <a:solidFill>
                <a:srgbClr val="002060"/>
              </a:solidFill>
              <a:miter lim="800000"/>
              <a:headEnd/>
              <a:tailEnd type="none" w="sm" len="med"/>
            </a:ln>
          </p:spPr>
          <p:txBody>
            <a:bodyPr lIns="30089" tIns="30089" rIns="30089" bIns="30089" anchor="ctr" anchorCtr="1"/>
            <a:lstStyle/>
            <a:p>
              <a:pPr algn="ctr" defTabSz="717911"/>
              <a:r>
                <a:rPr lang="en-US" sz="1050" b="1" dirty="0">
                  <a:solidFill>
                    <a:srgbClr val="FFFFFF"/>
                  </a:solidFill>
                </a:rPr>
                <a:t>Encryption</a:t>
              </a: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C36219C7-A5DF-432C-9607-1511CE64EC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0" y="1071"/>
              <a:ext cx="1847" cy="3635"/>
            </a:xfrm>
            <a:prstGeom prst="rect">
              <a:avLst/>
            </a:prstGeom>
            <a:noFill/>
            <a:ln w="12700" algn="ctr">
              <a:solidFill>
                <a:srgbClr val="002060"/>
              </a:solidFill>
              <a:miter lim="800000"/>
              <a:headEnd/>
              <a:tailEnd/>
            </a:ln>
          </p:spPr>
          <p:txBody>
            <a:bodyPr lIns="30089" tIns="30089" rIns="30089" bIns="30089"/>
            <a:lstStyle/>
            <a:p>
              <a:pPr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defRPr/>
              </a:pPr>
              <a:r>
                <a:rPr lang="nl-NL" sz="1050" dirty="0" err="1">
                  <a:solidFill>
                    <a:srgbClr val="002776"/>
                  </a:solidFill>
                  <a:latin typeface="Arial"/>
                  <a:cs typeface="+mn-cs"/>
                </a:rPr>
                <a:t>Paragraph</a:t>
              </a:r>
              <a:r>
                <a:rPr lang="nl-NL" sz="1050" dirty="0">
                  <a:solidFill>
                    <a:srgbClr val="002776"/>
                  </a:solidFill>
                  <a:latin typeface="Arial"/>
                  <a:cs typeface="+mn-cs"/>
                </a:rPr>
                <a:t> (</a:t>
              </a:r>
              <a:r>
                <a:rPr lang="nl-NL" sz="1050" dirty="0" err="1">
                  <a:solidFill>
                    <a:srgbClr val="002776"/>
                  </a:solidFill>
                  <a:latin typeface="Arial"/>
                  <a:cs typeface="+mn-cs"/>
                </a:rPr>
                <a:t>if</a:t>
              </a:r>
              <a:r>
                <a:rPr lang="nl-NL" sz="1050" dirty="0">
                  <a:solidFill>
                    <a:srgbClr val="002776"/>
                  </a:solidFill>
                  <a:latin typeface="Arial"/>
                  <a:cs typeface="+mn-cs"/>
                </a:rPr>
                <a:t> </a:t>
              </a:r>
              <a:r>
                <a:rPr lang="nl-NL" sz="1050" dirty="0" err="1">
                  <a:solidFill>
                    <a:srgbClr val="002776"/>
                  </a:solidFill>
                  <a:latin typeface="Arial"/>
                  <a:cs typeface="+mn-cs"/>
                </a:rPr>
                <a:t>not</a:t>
              </a:r>
              <a:r>
                <a:rPr lang="nl-NL" sz="1050" dirty="0">
                  <a:solidFill>
                    <a:srgbClr val="002776"/>
                  </a:solidFill>
                  <a:latin typeface="Arial"/>
                  <a:cs typeface="+mn-cs"/>
                </a:rPr>
                <a:t> </a:t>
              </a:r>
              <a:r>
                <a:rPr lang="nl-NL" sz="1050" dirty="0" err="1">
                  <a:solidFill>
                    <a:srgbClr val="002776"/>
                  </a:solidFill>
                  <a:latin typeface="Arial"/>
                  <a:cs typeface="+mn-cs"/>
                </a:rPr>
                <a:t>needed</a:t>
              </a:r>
              <a:r>
                <a:rPr lang="nl-NL" sz="1050" dirty="0">
                  <a:solidFill>
                    <a:srgbClr val="002776"/>
                  </a:solidFill>
                  <a:latin typeface="Arial"/>
                  <a:cs typeface="+mn-cs"/>
                </a:rPr>
                <a:t>, delete)</a:t>
              </a:r>
            </a:p>
            <a:p>
              <a:pPr marL="143246" lvl="1" indent="-143246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r>
                <a:rPr lang="nl-NL" sz="1050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Bullet</a:t>
              </a:r>
            </a:p>
            <a:p>
              <a:pPr marL="280895" lvl="2" indent="-137651" defTabSz="718463">
                <a:lnSpc>
                  <a:spcPct val="106000"/>
                </a:lnSpc>
                <a:spcBef>
                  <a:spcPts val="432"/>
                </a:spcBef>
                <a:spcAft>
                  <a:spcPts val="0"/>
                </a:spcAft>
                <a:buFont typeface="Arial" charset="0"/>
                <a:buChar char="‒"/>
                <a:defRPr/>
              </a:pPr>
              <a:r>
                <a:rPr lang="nl-NL" sz="900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Dash</a:t>
              </a:r>
            </a:p>
            <a:p>
              <a:pPr marL="424139" lvl="3" indent="-143246" defTabSz="718463">
                <a:lnSpc>
                  <a:spcPct val="106000"/>
                </a:lnSpc>
                <a:spcBef>
                  <a:spcPts val="432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r>
                <a:rPr lang="nl-NL" sz="900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Subbullet</a:t>
              </a:r>
            </a:p>
            <a:p>
              <a:pPr marL="269705" indent="-269705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defRPr/>
              </a:pPr>
              <a:endParaRPr lang="nl-NL" sz="1050" dirty="0">
                <a:solidFill>
                  <a:srgbClr val="002776"/>
                </a:solidFill>
                <a:latin typeface="Arial"/>
                <a:cs typeface="+mn-cs"/>
              </a:endParaRPr>
            </a:p>
          </p:txBody>
        </p:sp>
      </p:grpSp>
      <p:grpSp>
        <p:nvGrpSpPr>
          <p:cNvPr id="14" name="Group 12">
            <a:extLst>
              <a:ext uri="{FF2B5EF4-FFF2-40B4-BE49-F238E27FC236}">
                <a16:creationId xmlns:a16="http://schemas.microsoft.com/office/drawing/2014/main" id="{5E28AC38-8264-477B-A395-5D7E03829A56}"/>
              </a:ext>
            </a:extLst>
          </p:cNvPr>
          <p:cNvGrpSpPr>
            <a:grpSpLocks/>
          </p:cNvGrpSpPr>
          <p:nvPr/>
        </p:nvGrpSpPr>
        <p:grpSpPr bwMode="auto">
          <a:xfrm>
            <a:off x="6304261" y="873510"/>
            <a:ext cx="1660028" cy="3600400"/>
            <a:chOff x="300" y="872"/>
            <a:chExt cx="1847" cy="3834"/>
          </a:xfrm>
        </p:grpSpPr>
        <p:sp>
          <p:nvSpPr>
            <p:cNvPr id="15" name="Text Box 10">
              <a:extLst>
                <a:ext uri="{FF2B5EF4-FFF2-40B4-BE49-F238E27FC236}">
                  <a16:creationId xmlns:a16="http://schemas.microsoft.com/office/drawing/2014/main" id="{D31082D0-9A2C-4B73-89C4-A554FEFE944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00" y="872"/>
              <a:ext cx="1847" cy="199"/>
            </a:xfrm>
            <a:prstGeom prst="rect">
              <a:avLst/>
            </a:prstGeom>
            <a:solidFill>
              <a:srgbClr val="002060"/>
            </a:solidFill>
            <a:ln w="12700" algn="ctr">
              <a:solidFill>
                <a:srgbClr val="002060"/>
              </a:solidFill>
              <a:miter lim="800000"/>
              <a:headEnd/>
              <a:tailEnd type="none" w="sm" len="med"/>
            </a:ln>
          </p:spPr>
          <p:txBody>
            <a:bodyPr lIns="30089" tIns="30089" rIns="30089" bIns="30089" anchor="ctr" anchorCtr="1"/>
            <a:lstStyle/>
            <a:p>
              <a:pPr algn="ctr" defTabSz="717911"/>
              <a:r>
                <a:rPr lang="en-US" sz="1050" b="1" dirty="0">
                  <a:solidFill>
                    <a:srgbClr val="FFFFFF"/>
                  </a:solidFill>
                </a:rPr>
                <a:t>Database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07A4485A-B86A-482D-BB4C-089A9E8E1F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0" y="1071"/>
              <a:ext cx="1847" cy="3635"/>
            </a:xfrm>
            <a:prstGeom prst="rect">
              <a:avLst/>
            </a:prstGeom>
            <a:noFill/>
            <a:ln w="12700" algn="ctr">
              <a:solidFill>
                <a:srgbClr val="002060"/>
              </a:solidFill>
              <a:miter lim="800000"/>
              <a:headEnd/>
              <a:tailEnd/>
            </a:ln>
          </p:spPr>
          <p:txBody>
            <a:bodyPr lIns="30089" tIns="30089" rIns="30089" bIns="30089"/>
            <a:lstStyle/>
            <a:p>
              <a:pPr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defRPr/>
              </a:pPr>
              <a:r>
                <a:rPr lang="nl-NL" sz="1050" dirty="0" err="1">
                  <a:solidFill>
                    <a:srgbClr val="002776"/>
                  </a:solidFill>
                  <a:latin typeface="Arial"/>
                  <a:cs typeface="+mn-cs"/>
                </a:rPr>
                <a:t>Paragraph</a:t>
              </a:r>
              <a:r>
                <a:rPr lang="nl-NL" sz="1050" dirty="0">
                  <a:solidFill>
                    <a:srgbClr val="002776"/>
                  </a:solidFill>
                  <a:latin typeface="Arial"/>
                  <a:cs typeface="+mn-cs"/>
                </a:rPr>
                <a:t> (</a:t>
              </a:r>
              <a:r>
                <a:rPr lang="nl-NL" sz="1050" dirty="0" err="1">
                  <a:solidFill>
                    <a:srgbClr val="002776"/>
                  </a:solidFill>
                  <a:latin typeface="Arial"/>
                  <a:cs typeface="+mn-cs"/>
                </a:rPr>
                <a:t>if</a:t>
              </a:r>
              <a:r>
                <a:rPr lang="nl-NL" sz="1050" dirty="0">
                  <a:solidFill>
                    <a:srgbClr val="002776"/>
                  </a:solidFill>
                  <a:latin typeface="Arial"/>
                  <a:cs typeface="+mn-cs"/>
                </a:rPr>
                <a:t> </a:t>
              </a:r>
              <a:r>
                <a:rPr lang="nl-NL" sz="1050" dirty="0" err="1">
                  <a:solidFill>
                    <a:srgbClr val="002776"/>
                  </a:solidFill>
                  <a:latin typeface="Arial"/>
                  <a:cs typeface="+mn-cs"/>
                </a:rPr>
                <a:t>not</a:t>
              </a:r>
              <a:r>
                <a:rPr lang="nl-NL" sz="1050" dirty="0">
                  <a:solidFill>
                    <a:srgbClr val="002776"/>
                  </a:solidFill>
                  <a:latin typeface="Arial"/>
                  <a:cs typeface="+mn-cs"/>
                </a:rPr>
                <a:t> </a:t>
              </a:r>
              <a:r>
                <a:rPr lang="nl-NL" sz="1050" dirty="0" err="1">
                  <a:solidFill>
                    <a:srgbClr val="002776"/>
                  </a:solidFill>
                  <a:latin typeface="Arial"/>
                  <a:cs typeface="+mn-cs"/>
                </a:rPr>
                <a:t>needed</a:t>
              </a:r>
              <a:r>
                <a:rPr lang="nl-NL" sz="1050" dirty="0">
                  <a:solidFill>
                    <a:srgbClr val="002776"/>
                  </a:solidFill>
                  <a:latin typeface="Arial"/>
                  <a:cs typeface="+mn-cs"/>
                </a:rPr>
                <a:t>, delete)</a:t>
              </a:r>
            </a:p>
            <a:p>
              <a:pPr marL="143246" lvl="1" indent="-143246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r>
                <a:rPr lang="nl-NL" sz="1050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Bullet</a:t>
              </a:r>
            </a:p>
            <a:p>
              <a:pPr marL="280895" lvl="2" indent="-137651" defTabSz="718463">
                <a:lnSpc>
                  <a:spcPct val="106000"/>
                </a:lnSpc>
                <a:spcBef>
                  <a:spcPts val="432"/>
                </a:spcBef>
                <a:spcAft>
                  <a:spcPts val="0"/>
                </a:spcAft>
                <a:buFont typeface="Arial" charset="0"/>
                <a:buChar char="‒"/>
                <a:defRPr/>
              </a:pPr>
              <a:r>
                <a:rPr lang="nl-NL" sz="900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Dash</a:t>
              </a:r>
            </a:p>
            <a:p>
              <a:pPr marL="424139" lvl="3" indent="-143246" defTabSz="718463">
                <a:lnSpc>
                  <a:spcPct val="106000"/>
                </a:lnSpc>
                <a:spcBef>
                  <a:spcPts val="432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r>
                <a:rPr lang="nl-NL" sz="900" dirty="0">
                  <a:solidFill>
                    <a:srgbClr val="002776"/>
                  </a:solidFill>
                  <a:latin typeface="Arial"/>
                  <a:ea typeface="+mj-ea"/>
                  <a:cs typeface="+mj-cs"/>
                </a:rPr>
                <a:t>Subbullet</a:t>
              </a:r>
            </a:p>
            <a:p>
              <a:pPr marL="269705" indent="-269705" defTabSz="718463">
                <a:lnSpc>
                  <a:spcPct val="106000"/>
                </a:lnSpc>
                <a:spcBef>
                  <a:spcPts val="1008"/>
                </a:spcBef>
                <a:spcAft>
                  <a:spcPts val="0"/>
                </a:spcAft>
                <a:defRPr/>
              </a:pPr>
              <a:endParaRPr lang="nl-NL" sz="1050" dirty="0">
                <a:solidFill>
                  <a:srgbClr val="002776"/>
                </a:solidFill>
                <a:latin typeface="Arial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2135802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3DDFAB6E-9EE9-4E4F-BF78-1CAEA2C9D9A8}"/>
              </a:ext>
            </a:extLst>
          </p:cNvPr>
          <p:cNvSpPr/>
          <p:nvPr/>
        </p:nvSpPr>
        <p:spPr>
          <a:xfrm>
            <a:off x="430617" y="2422452"/>
            <a:ext cx="8282763" cy="409353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8DDD72B-E563-47BC-9E1A-B47468FB03AF}"/>
              </a:ext>
            </a:extLst>
          </p:cNvPr>
          <p:cNvSpPr/>
          <p:nvPr/>
        </p:nvSpPr>
        <p:spPr>
          <a:xfrm>
            <a:off x="430617" y="845288"/>
            <a:ext cx="8282763" cy="409353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C0F1935-BF7A-4536-9740-466FDD274B5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User Accounts</a:t>
            </a:r>
          </a:p>
          <a:p>
            <a:pPr lvl="1"/>
            <a:r>
              <a:rPr lang="en-US" dirty="0"/>
              <a:t>First Name</a:t>
            </a:r>
          </a:p>
          <a:p>
            <a:pPr lvl="1"/>
            <a:r>
              <a:rPr lang="en-US" dirty="0"/>
              <a:t>Last Name</a:t>
            </a:r>
          </a:p>
          <a:p>
            <a:pPr lvl="1"/>
            <a:r>
              <a:rPr lang="en-US" dirty="0"/>
              <a:t>PIN Code</a:t>
            </a:r>
          </a:p>
          <a:p>
            <a:pPr lvl="1"/>
            <a:r>
              <a:rPr lang="en-US" dirty="0"/>
              <a:t>Account Balance</a:t>
            </a:r>
            <a:endParaRPr lang="en-US" sz="500" dirty="0"/>
          </a:p>
          <a:p>
            <a:r>
              <a:rPr lang="en-US" dirty="0"/>
              <a:t>Services</a:t>
            </a:r>
          </a:p>
          <a:p>
            <a:pPr lvl="1"/>
            <a:r>
              <a:rPr lang="en-US" dirty="0"/>
              <a:t>Withdrawals</a:t>
            </a:r>
          </a:p>
          <a:p>
            <a:pPr lvl="2"/>
            <a:r>
              <a:rPr lang="en-US" dirty="0"/>
              <a:t>Multiples of $20</a:t>
            </a:r>
          </a:p>
          <a:p>
            <a:pPr lvl="2"/>
            <a:r>
              <a:rPr lang="en-US" dirty="0"/>
              <a:t>Quick withdrawal options from $20 - $100</a:t>
            </a:r>
          </a:p>
          <a:p>
            <a:pPr lvl="2"/>
            <a:r>
              <a:rPr lang="en-US" dirty="0"/>
              <a:t>Manual for amounts larger than $100</a:t>
            </a:r>
          </a:p>
          <a:p>
            <a:pPr lvl="1"/>
            <a:r>
              <a:rPr lang="en-US" dirty="0"/>
              <a:t>Deposits</a:t>
            </a:r>
          </a:p>
          <a:p>
            <a:pPr lvl="2"/>
            <a:r>
              <a:rPr lang="en-US" dirty="0"/>
              <a:t>Any positive amount (minimum $0.01)</a:t>
            </a:r>
          </a:p>
          <a:p>
            <a:pPr lvl="1"/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DDAEA77-A3A3-41CF-9E79-38786B29C8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Four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22072E9-14BE-47EB-86F1-3681179B12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re Functionalit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1D6DDD-88BF-4A82-A17E-DD33533100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07EE3-A7AD-4D85-AA70-E0A9F1A7BE8D}" type="slidenum">
              <a:rPr lang="en-US" smtClean="0"/>
              <a:pPr/>
              <a:t>3</a:t>
            </a:fld>
            <a:endParaRPr lang="en-US" dirty="0"/>
          </a:p>
        </p:txBody>
      </p:sp>
      <p:grpSp>
        <p:nvGrpSpPr>
          <p:cNvPr id="10" name="Group 89">
            <a:extLst>
              <a:ext uri="{FF2B5EF4-FFF2-40B4-BE49-F238E27FC236}">
                <a16:creationId xmlns:a16="http://schemas.microsoft.com/office/drawing/2014/main" id="{0808CFC5-6272-4B7E-BBA4-BC4C3FBEAAA6}"/>
              </a:ext>
            </a:extLst>
          </p:cNvPr>
          <p:cNvGrpSpPr>
            <a:grpSpLocks/>
          </p:cNvGrpSpPr>
          <p:nvPr/>
        </p:nvGrpSpPr>
        <p:grpSpPr bwMode="auto">
          <a:xfrm>
            <a:off x="7643747" y="320040"/>
            <a:ext cx="1079599" cy="161925"/>
            <a:chOff x="852" y="3385"/>
            <a:chExt cx="906" cy="136"/>
          </a:xfrm>
          <a:solidFill>
            <a:schemeClr val="accent2">
              <a:lumMod val="75000"/>
            </a:schemeClr>
          </a:solidFill>
        </p:grpSpPr>
        <p:sp>
          <p:nvSpPr>
            <p:cNvPr id="11" name="AutoShape 90">
              <a:extLst>
                <a:ext uri="{FF2B5EF4-FFF2-40B4-BE49-F238E27FC236}">
                  <a16:creationId xmlns:a16="http://schemas.microsoft.com/office/drawing/2014/main" id="{0BA8C6F5-E325-4CA7-A692-A51EE8E988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9" y="3385"/>
              <a:ext cx="226" cy="136"/>
            </a:xfrm>
            <a:prstGeom prst="chevron">
              <a:avLst>
                <a:gd name="adj" fmla="val 41544"/>
              </a:avLst>
            </a:prstGeom>
            <a:solidFill>
              <a:schemeClr val="bg1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2" name="AutoShape 91">
              <a:extLst>
                <a:ext uri="{FF2B5EF4-FFF2-40B4-BE49-F238E27FC236}">
                  <a16:creationId xmlns:a16="http://schemas.microsoft.com/office/drawing/2014/main" id="{A79C7063-35B9-4DBE-869E-04ACB1E0EB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6" y="3385"/>
              <a:ext cx="225" cy="136"/>
            </a:xfrm>
            <a:prstGeom prst="chevron">
              <a:avLst>
                <a:gd name="adj" fmla="val 41544"/>
              </a:avLst>
            </a:prstGeom>
            <a:solidFill>
              <a:schemeClr val="bg1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3" name="AutoShape 92">
              <a:extLst>
                <a:ext uri="{FF2B5EF4-FFF2-40B4-BE49-F238E27FC236}">
                  <a16:creationId xmlns:a16="http://schemas.microsoft.com/office/drawing/2014/main" id="{C43CB012-AEFD-4846-9A0C-FF415AFFFD9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2" y="3385"/>
              <a:ext cx="226" cy="136"/>
            </a:xfrm>
            <a:prstGeom prst="chevron">
              <a:avLst>
                <a:gd name="adj" fmla="val 41544"/>
              </a:avLst>
            </a:prstGeom>
            <a:solidFill>
              <a:schemeClr val="bg1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4" name="AutoShape 93">
              <a:extLst>
                <a:ext uri="{FF2B5EF4-FFF2-40B4-BE49-F238E27FC236}">
                  <a16:creationId xmlns:a16="http://schemas.microsoft.com/office/drawing/2014/main" id="{5943A4D3-7B89-44F2-AFE9-B4973747B1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2" y="3385"/>
              <a:ext cx="227" cy="136"/>
            </a:xfrm>
            <a:prstGeom prst="homePlate">
              <a:avLst>
                <a:gd name="adj" fmla="val 41728"/>
              </a:avLst>
            </a:prstGeom>
            <a:solidFill>
              <a:srgbClr val="002060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</p:grpSp>
    </p:spTree>
    <p:extLst>
      <p:ext uri="{BB962C8B-B14F-4D97-AF65-F5344CB8AC3E}">
        <p14:creationId xmlns:p14="http://schemas.microsoft.com/office/powerpoint/2010/main" val="143598114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760D5525-F0ED-493B-A60C-21641FBC41A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75B528D-E214-474B-B8CE-7C3F24BF68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Four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53EEA17-ADF6-44B8-B892-9C8865FCD8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User Interfac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B8A97FF-4EC2-4048-B919-4F194BC2EF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07EE3-A7AD-4D85-AA70-E0A9F1A7BE8D}" type="slidenum">
              <a:rPr lang="en-US" smtClean="0"/>
              <a:pPr/>
              <a:t>4</a:t>
            </a:fld>
            <a:endParaRPr lang="en-US" dirty="0"/>
          </a:p>
        </p:txBody>
      </p:sp>
      <p:grpSp>
        <p:nvGrpSpPr>
          <p:cNvPr id="6" name="Group 89">
            <a:extLst>
              <a:ext uri="{FF2B5EF4-FFF2-40B4-BE49-F238E27FC236}">
                <a16:creationId xmlns:a16="http://schemas.microsoft.com/office/drawing/2014/main" id="{419A7AB9-F437-4769-B606-A63B78A731F4}"/>
              </a:ext>
            </a:extLst>
          </p:cNvPr>
          <p:cNvGrpSpPr>
            <a:grpSpLocks/>
          </p:cNvGrpSpPr>
          <p:nvPr/>
        </p:nvGrpSpPr>
        <p:grpSpPr bwMode="auto">
          <a:xfrm>
            <a:off x="7643747" y="320040"/>
            <a:ext cx="1079599" cy="161925"/>
            <a:chOff x="852" y="3385"/>
            <a:chExt cx="906" cy="136"/>
          </a:xfrm>
          <a:solidFill>
            <a:schemeClr val="accent2">
              <a:lumMod val="75000"/>
            </a:schemeClr>
          </a:solidFill>
        </p:grpSpPr>
        <p:sp>
          <p:nvSpPr>
            <p:cNvPr id="7" name="AutoShape 90">
              <a:extLst>
                <a:ext uri="{FF2B5EF4-FFF2-40B4-BE49-F238E27FC236}">
                  <a16:creationId xmlns:a16="http://schemas.microsoft.com/office/drawing/2014/main" id="{64846609-40EA-4AF3-9271-2C4933621CC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9" y="3385"/>
              <a:ext cx="226" cy="136"/>
            </a:xfrm>
            <a:prstGeom prst="chevron">
              <a:avLst>
                <a:gd name="adj" fmla="val 41544"/>
              </a:avLst>
            </a:prstGeom>
            <a:solidFill>
              <a:srgbClr val="002060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8" name="AutoShape 91">
              <a:extLst>
                <a:ext uri="{FF2B5EF4-FFF2-40B4-BE49-F238E27FC236}">
                  <a16:creationId xmlns:a16="http://schemas.microsoft.com/office/drawing/2014/main" id="{AD083073-A6C5-4ADF-A0FD-5C865A7D74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6" y="3385"/>
              <a:ext cx="225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9" name="AutoShape 92">
              <a:extLst>
                <a:ext uri="{FF2B5EF4-FFF2-40B4-BE49-F238E27FC236}">
                  <a16:creationId xmlns:a16="http://schemas.microsoft.com/office/drawing/2014/main" id="{724D70D2-1EC0-4475-980B-EFB27CE470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2" y="3385"/>
              <a:ext cx="226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0" name="AutoShape 93">
              <a:extLst>
                <a:ext uri="{FF2B5EF4-FFF2-40B4-BE49-F238E27FC236}">
                  <a16:creationId xmlns:a16="http://schemas.microsoft.com/office/drawing/2014/main" id="{FBDFF64A-20CE-472C-9421-45F108152C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2" y="3385"/>
              <a:ext cx="227" cy="136"/>
            </a:xfrm>
            <a:prstGeom prst="homePlate">
              <a:avLst>
                <a:gd name="adj" fmla="val 41728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</p:grpSp>
    </p:spTree>
    <p:extLst>
      <p:ext uri="{BB962C8B-B14F-4D97-AF65-F5344CB8AC3E}">
        <p14:creationId xmlns:p14="http://schemas.microsoft.com/office/powerpoint/2010/main" val="368722121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447C9CBA-ADD4-4F09-AAA3-8564CBF6FF3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6871" y="869816"/>
            <a:ext cx="4062599" cy="368108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1D8ADAE-A647-46D7-AB6E-418F9ECC21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Four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B7F0B7C-3F12-4563-AD80-493B98D624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gin Screen and Valid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A749CD9-F80D-45C4-809A-17411F51AD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07EE3-A7AD-4D85-AA70-E0A9F1A7BE8D}" type="slidenum">
              <a:rPr lang="en-US" smtClean="0"/>
              <a:pPr/>
              <a:t>5</a:t>
            </a:fld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D7950DA-320A-4C4F-95FE-C209CE7DD72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54758" y="873330"/>
            <a:ext cx="3383280" cy="149951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9F2600B-4837-4307-9C6C-DA696F9CA5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45156" y="2429780"/>
            <a:ext cx="3383280" cy="2080236"/>
          </a:xfrm>
          <a:prstGeom prst="rect">
            <a:avLst/>
          </a:prstGeom>
        </p:spPr>
      </p:pic>
      <p:grpSp>
        <p:nvGrpSpPr>
          <p:cNvPr id="18" name="Group 89">
            <a:extLst>
              <a:ext uri="{FF2B5EF4-FFF2-40B4-BE49-F238E27FC236}">
                <a16:creationId xmlns:a16="http://schemas.microsoft.com/office/drawing/2014/main" id="{E312A4AA-D9C1-4597-9567-DF55FCAFC66C}"/>
              </a:ext>
            </a:extLst>
          </p:cNvPr>
          <p:cNvGrpSpPr>
            <a:grpSpLocks/>
          </p:cNvGrpSpPr>
          <p:nvPr/>
        </p:nvGrpSpPr>
        <p:grpSpPr bwMode="auto">
          <a:xfrm>
            <a:off x="7643747" y="320040"/>
            <a:ext cx="1079599" cy="161925"/>
            <a:chOff x="852" y="3385"/>
            <a:chExt cx="906" cy="136"/>
          </a:xfrm>
          <a:solidFill>
            <a:schemeClr val="accent2">
              <a:lumMod val="75000"/>
            </a:schemeClr>
          </a:solidFill>
        </p:grpSpPr>
        <p:sp>
          <p:nvSpPr>
            <p:cNvPr id="19" name="AutoShape 90">
              <a:extLst>
                <a:ext uri="{FF2B5EF4-FFF2-40B4-BE49-F238E27FC236}">
                  <a16:creationId xmlns:a16="http://schemas.microsoft.com/office/drawing/2014/main" id="{0D3EB79E-5BB7-48A7-BCCE-FD3846B0A0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9" y="3385"/>
              <a:ext cx="226" cy="136"/>
            </a:xfrm>
            <a:prstGeom prst="chevron">
              <a:avLst>
                <a:gd name="adj" fmla="val 41544"/>
              </a:avLst>
            </a:prstGeom>
            <a:solidFill>
              <a:srgbClr val="002060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20" name="AutoShape 91">
              <a:extLst>
                <a:ext uri="{FF2B5EF4-FFF2-40B4-BE49-F238E27FC236}">
                  <a16:creationId xmlns:a16="http://schemas.microsoft.com/office/drawing/2014/main" id="{3B1D83F7-3307-4C9E-B605-B4A04FA3A0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6" y="3385"/>
              <a:ext cx="225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21" name="AutoShape 92">
              <a:extLst>
                <a:ext uri="{FF2B5EF4-FFF2-40B4-BE49-F238E27FC236}">
                  <a16:creationId xmlns:a16="http://schemas.microsoft.com/office/drawing/2014/main" id="{36732666-9C14-42A4-A0BE-EF4433D172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2" y="3385"/>
              <a:ext cx="226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22" name="AutoShape 93">
              <a:extLst>
                <a:ext uri="{FF2B5EF4-FFF2-40B4-BE49-F238E27FC236}">
                  <a16:creationId xmlns:a16="http://schemas.microsoft.com/office/drawing/2014/main" id="{ED78344B-2AE9-469C-A7A2-6AE2B78305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2" y="3385"/>
              <a:ext cx="227" cy="136"/>
            </a:xfrm>
            <a:prstGeom prst="homePlate">
              <a:avLst>
                <a:gd name="adj" fmla="val 41728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</p:grpSp>
    </p:spTree>
    <p:extLst>
      <p:ext uri="{BB962C8B-B14F-4D97-AF65-F5344CB8AC3E}">
        <p14:creationId xmlns:p14="http://schemas.microsoft.com/office/powerpoint/2010/main" val="158890215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447C9CBA-ADD4-4F09-AAA3-8564CBF6FF3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6871" y="869816"/>
            <a:ext cx="4062599" cy="368108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1D8ADAE-A647-46D7-AB6E-418F9ECC21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Four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B7F0B7C-3F12-4563-AD80-493B98D624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gn Up Scree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A749CD9-F80D-45C4-809A-17411F51AD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07EE3-A7AD-4D85-AA70-E0A9F1A7BE8D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1414FE0-7A1D-45C5-99BD-2504669015E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46374" y="1709597"/>
            <a:ext cx="3931920" cy="2126764"/>
          </a:xfrm>
          <a:prstGeom prst="rect">
            <a:avLst/>
          </a:prstGeom>
        </p:spPr>
      </p:pic>
      <p:grpSp>
        <p:nvGrpSpPr>
          <p:cNvPr id="13" name="Group 89">
            <a:extLst>
              <a:ext uri="{FF2B5EF4-FFF2-40B4-BE49-F238E27FC236}">
                <a16:creationId xmlns:a16="http://schemas.microsoft.com/office/drawing/2014/main" id="{998DB620-6320-4052-9704-E34233CD3DA3}"/>
              </a:ext>
            </a:extLst>
          </p:cNvPr>
          <p:cNvGrpSpPr>
            <a:grpSpLocks/>
          </p:cNvGrpSpPr>
          <p:nvPr/>
        </p:nvGrpSpPr>
        <p:grpSpPr bwMode="auto">
          <a:xfrm>
            <a:off x="7643747" y="320040"/>
            <a:ext cx="1079599" cy="161925"/>
            <a:chOff x="852" y="3385"/>
            <a:chExt cx="906" cy="136"/>
          </a:xfrm>
          <a:solidFill>
            <a:schemeClr val="accent2">
              <a:lumMod val="75000"/>
            </a:schemeClr>
          </a:solidFill>
        </p:grpSpPr>
        <p:sp>
          <p:nvSpPr>
            <p:cNvPr id="14" name="AutoShape 90">
              <a:extLst>
                <a:ext uri="{FF2B5EF4-FFF2-40B4-BE49-F238E27FC236}">
                  <a16:creationId xmlns:a16="http://schemas.microsoft.com/office/drawing/2014/main" id="{014E9C4A-F42C-42D4-B491-31877CA3B1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9" y="3385"/>
              <a:ext cx="226" cy="136"/>
            </a:xfrm>
            <a:prstGeom prst="chevron">
              <a:avLst>
                <a:gd name="adj" fmla="val 41544"/>
              </a:avLst>
            </a:prstGeom>
            <a:solidFill>
              <a:srgbClr val="002060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5" name="AutoShape 91">
              <a:extLst>
                <a:ext uri="{FF2B5EF4-FFF2-40B4-BE49-F238E27FC236}">
                  <a16:creationId xmlns:a16="http://schemas.microsoft.com/office/drawing/2014/main" id="{C82F0309-2A06-4285-8724-9C492A05CB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6" y="3385"/>
              <a:ext cx="225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6" name="AutoShape 92">
              <a:extLst>
                <a:ext uri="{FF2B5EF4-FFF2-40B4-BE49-F238E27FC236}">
                  <a16:creationId xmlns:a16="http://schemas.microsoft.com/office/drawing/2014/main" id="{EEAAE796-4822-4130-B01A-7C3F82CEE6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2" y="3385"/>
              <a:ext cx="226" cy="136"/>
            </a:xfrm>
            <a:prstGeom prst="chevron">
              <a:avLst>
                <a:gd name="adj" fmla="val 41544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7" name="AutoShape 93">
              <a:extLst>
                <a:ext uri="{FF2B5EF4-FFF2-40B4-BE49-F238E27FC236}">
                  <a16:creationId xmlns:a16="http://schemas.microsoft.com/office/drawing/2014/main" id="{24C88728-1B89-4129-A216-917210FEF4C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2" y="3385"/>
              <a:ext cx="227" cy="136"/>
            </a:xfrm>
            <a:prstGeom prst="homePlate">
              <a:avLst>
                <a:gd name="adj" fmla="val 41728"/>
              </a:avLst>
            </a:prstGeom>
            <a:no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</p:grpSp>
    </p:spTree>
    <p:extLst>
      <p:ext uri="{BB962C8B-B14F-4D97-AF65-F5344CB8AC3E}">
        <p14:creationId xmlns:p14="http://schemas.microsoft.com/office/powerpoint/2010/main" val="64399890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CF6AF3-246A-4F13-8443-D49318F9DC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cryption and Security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D8FD9DE-CB48-445C-98E2-07AF2BEDE0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Four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6721C2-2871-4903-9301-C1F600207B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07EE3-A7AD-4D85-AA70-E0A9F1A7BE8D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5" name="Freeform 2">
            <a:extLst>
              <a:ext uri="{FF2B5EF4-FFF2-40B4-BE49-F238E27FC236}">
                <a16:creationId xmlns:a16="http://schemas.microsoft.com/office/drawing/2014/main" id="{AA125746-364C-4401-88AB-B8BC0F38F09E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 bwMode="blackWhite">
          <a:xfrm>
            <a:off x="1863329" y="1198747"/>
            <a:ext cx="3118842" cy="2933700"/>
          </a:xfrm>
          <a:custGeom>
            <a:avLst/>
            <a:gdLst>
              <a:gd name="T0" fmla="*/ 2147483647 w 1934"/>
              <a:gd name="T1" fmla="*/ 2147483647 h 1970"/>
              <a:gd name="T2" fmla="*/ 0 w 1934"/>
              <a:gd name="T3" fmla="*/ 2147483647 h 1970"/>
              <a:gd name="T4" fmla="*/ 0 w 1934"/>
              <a:gd name="T5" fmla="*/ 0 h 1970"/>
              <a:gd name="T6" fmla="*/ 2147483647 w 1934"/>
              <a:gd name="T7" fmla="*/ 0 h 1970"/>
              <a:gd name="T8" fmla="*/ 2147483647 w 1934"/>
              <a:gd name="T9" fmla="*/ 2147483647 h 1970"/>
              <a:gd name="T10" fmla="*/ 2147483647 w 1934"/>
              <a:gd name="T11" fmla="*/ 2147483647 h 1970"/>
              <a:gd name="T12" fmla="*/ 2147483647 w 1934"/>
              <a:gd name="T13" fmla="*/ 2147483647 h 1970"/>
              <a:gd name="T14" fmla="*/ 2147483647 w 1934"/>
              <a:gd name="T15" fmla="*/ 2147483647 h 1970"/>
              <a:gd name="T16" fmla="*/ 2147483647 w 1934"/>
              <a:gd name="T17" fmla="*/ 2147483647 h 1970"/>
              <a:gd name="T18" fmla="*/ 2147483647 w 1934"/>
              <a:gd name="T19" fmla="*/ 2147483647 h 1970"/>
              <a:gd name="T20" fmla="*/ 2147483647 w 1934"/>
              <a:gd name="T21" fmla="*/ 2147483647 h 1970"/>
              <a:gd name="T22" fmla="*/ 2147483647 w 1934"/>
              <a:gd name="T23" fmla="*/ 2147483647 h 1970"/>
              <a:gd name="T24" fmla="*/ 2147483647 w 1934"/>
              <a:gd name="T25" fmla="*/ 2147483647 h 1970"/>
              <a:gd name="T26" fmla="*/ 2147483647 w 1934"/>
              <a:gd name="T27" fmla="*/ 2147483647 h 1970"/>
              <a:gd name="T28" fmla="*/ 2147483647 w 1934"/>
              <a:gd name="T29" fmla="*/ 2147483647 h 1970"/>
              <a:gd name="T30" fmla="*/ 2147483647 w 1934"/>
              <a:gd name="T31" fmla="*/ 2147483647 h 1970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1934"/>
              <a:gd name="T49" fmla="*/ 0 h 1970"/>
              <a:gd name="T50" fmla="*/ 1934 w 1934"/>
              <a:gd name="T51" fmla="*/ 1970 h 1970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1934" h="1970">
                <a:moveTo>
                  <a:pt x="1518" y="1969"/>
                </a:moveTo>
                <a:lnTo>
                  <a:pt x="0" y="1969"/>
                </a:lnTo>
                <a:lnTo>
                  <a:pt x="0" y="0"/>
                </a:lnTo>
                <a:lnTo>
                  <a:pt x="1699" y="0"/>
                </a:lnTo>
                <a:lnTo>
                  <a:pt x="1648" y="525"/>
                </a:lnTo>
                <a:lnTo>
                  <a:pt x="1734" y="525"/>
                </a:lnTo>
                <a:lnTo>
                  <a:pt x="1734" y="276"/>
                </a:lnTo>
                <a:lnTo>
                  <a:pt x="1933" y="703"/>
                </a:lnTo>
                <a:lnTo>
                  <a:pt x="1734" y="1104"/>
                </a:lnTo>
                <a:lnTo>
                  <a:pt x="1734" y="855"/>
                </a:lnTo>
                <a:lnTo>
                  <a:pt x="1622" y="855"/>
                </a:lnTo>
                <a:lnTo>
                  <a:pt x="1596" y="1104"/>
                </a:lnTo>
                <a:lnTo>
                  <a:pt x="1596" y="864"/>
                </a:lnTo>
                <a:lnTo>
                  <a:pt x="1397" y="1256"/>
                </a:lnTo>
                <a:lnTo>
                  <a:pt x="1556" y="1597"/>
                </a:lnTo>
                <a:lnTo>
                  <a:pt x="1518" y="1969"/>
                </a:lnTo>
              </a:path>
            </a:pathLst>
          </a:custGeom>
          <a:solidFill>
            <a:schemeClr val="bg1"/>
          </a:solidFill>
          <a:ln w="12700" cap="rnd">
            <a:solidFill>
              <a:schemeClr val="accent2">
                <a:lumMod val="75000"/>
              </a:schemeClr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GB" sz="1214" dirty="0"/>
          </a:p>
        </p:txBody>
      </p:sp>
      <p:sp>
        <p:nvSpPr>
          <p:cNvPr id="6" name="Freeform 3">
            <a:extLst>
              <a:ext uri="{FF2B5EF4-FFF2-40B4-BE49-F238E27FC236}">
                <a16:creationId xmlns:a16="http://schemas.microsoft.com/office/drawing/2014/main" id="{FDD38B89-DB7D-4FC0-8F64-1C2DF5EAA8F8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 bwMode="blackWhite">
          <a:xfrm>
            <a:off x="4115396" y="1198747"/>
            <a:ext cx="3120133" cy="2933700"/>
          </a:xfrm>
          <a:custGeom>
            <a:avLst/>
            <a:gdLst>
              <a:gd name="T0" fmla="*/ 2147483647 w 1934"/>
              <a:gd name="T1" fmla="*/ 0 h 1970"/>
              <a:gd name="T2" fmla="*/ 2147483647 w 1934"/>
              <a:gd name="T3" fmla="*/ 0 h 1970"/>
              <a:gd name="T4" fmla="*/ 2147483647 w 1934"/>
              <a:gd name="T5" fmla="*/ 2147483647 h 1970"/>
              <a:gd name="T6" fmla="*/ 2147483647 w 1934"/>
              <a:gd name="T7" fmla="*/ 2147483647 h 1970"/>
              <a:gd name="T8" fmla="*/ 2147483647 w 1934"/>
              <a:gd name="T9" fmla="*/ 2147483647 h 1970"/>
              <a:gd name="T10" fmla="*/ 2147483647 w 1934"/>
              <a:gd name="T11" fmla="*/ 2147483647 h 1970"/>
              <a:gd name="T12" fmla="*/ 2147483647 w 1934"/>
              <a:gd name="T13" fmla="*/ 2147483647 h 1970"/>
              <a:gd name="T14" fmla="*/ 0 w 1934"/>
              <a:gd name="T15" fmla="*/ 2147483647 h 1970"/>
              <a:gd name="T16" fmla="*/ 2147483647 w 1934"/>
              <a:gd name="T17" fmla="*/ 2147483647 h 1970"/>
              <a:gd name="T18" fmla="*/ 2147483647 w 1934"/>
              <a:gd name="T19" fmla="*/ 2147483647 h 1970"/>
              <a:gd name="T20" fmla="*/ 2147483647 w 1934"/>
              <a:gd name="T21" fmla="*/ 2147483647 h 1970"/>
              <a:gd name="T22" fmla="*/ 2147483647 w 1934"/>
              <a:gd name="T23" fmla="*/ 2147483647 h 1970"/>
              <a:gd name="T24" fmla="*/ 2147483647 w 1934"/>
              <a:gd name="T25" fmla="*/ 2147483647 h 1970"/>
              <a:gd name="T26" fmla="*/ 2147483647 w 1934"/>
              <a:gd name="T27" fmla="*/ 2147483647 h 1970"/>
              <a:gd name="T28" fmla="*/ 2147483647 w 1934"/>
              <a:gd name="T29" fmla="*/ 2147483647 h 1970"/>
              <a:gd name="T30" fmla="*/ 2147483647 w 1934"/>
              <a:gd name="T31" fmla="*/ 0 h 1970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1934"/>
              <a:gd name="T49" fmla="*/ 0 h 1970"/>
              <a:gd name="T50" fmla="*/ 1934 w 1934"/>
              <a:gd name="T51" fmla="*/ 1970 h 1970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1934" h="1970">
                <a:moveTo>
                  <a:pt x="414" y="0"/>
                </a:moveTo>
                <a:lnTo>
                  <a:pt x="1933" y="0"/>
                </a:lnTo>
                <a:lnTo>
                  <a:pt x="1933" y="1969"/>
                </a:lnTo>
                <a:lnTo>
                  <a:pt x="241" y="1969"/>
                </a:lnTo>
                <a:lnTo>
                  <a:pt x="284" y="1434"/>
                </a:lnTo>
                <a:lnTo>
                  <a:pt x="198" y="1434"/>
                </a:lnTo>
                <a:lnTo>
                  <a:pt x="198" y="1683"/>
                </a:lnTo>
                <a:lnTo>
                  <a:pt x="0" y="1265"/>
                </a:lnTo>
                <a:lnTo>
                  <a:pt x="198" y="864"/>
                </a:lnTo>
                <a:lnTo>
                  <a:pt x="198" y="1113"/>
                </a:lnTo>
                <a:lnTo>
                  <a:pt x="310" y="1113"/>
                </a:lnTo>
                <a:lnTo>
                  <a:pt x="345" y="864"/>
                </a:lnTo>
                <a:lnTo>
                  <a:pt x="336" y="1095"/>
                </a:lnTo>
                <a:lnTo>
                  <a:pt x="535" y="694"/>
                </a:lnTo>
                <a:lnTo>
                  <a:pt x="379" y="374"/>
                </a:lnTo>
                <a:lnTo>
                  <a:pt x="414" y="0"/>
                </a:lnTo>
              </a:path>
            </a:pathLst>
          </a:custGeom>
          <a:solidFill>
            <a:schemeClr val="accent2">
              <a:lumMod val="75000"/>
            </a:schemeClr>
          </a:solidFill>
          <a:ln w="12700" cap="rnd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GB" sz="1214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BD4708F5-1721-46A3-A912-F02DD4FD8234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auto">
          <a:xfrm>
            <a:off x="1934270" y="1252324"/>
            <a:ext cx="2320429" cy="2815829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>
            <a:lvl1pPr marL="148829" indent="-148829" algn="l" rtl="0" eaLnBrk="0" fontAlgn="base" hangingPunct="0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8606" indent="-128588" algn="l" rtl="0" eaLnBrk="0" fontAlgn="base" hangingPunct="0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Char char="–"/>
              <a:defRPr sz="1050">
                <a:solidFill>
                  <a:schemeClr val="tx1"/>
                </a:solidFill>
                <a:latin typeface="+mn-lt"/>
              </a:defRPr>
            </a:lvl2pPr>
            <a:lvl3pPr marL="435769" indent="-155972" algn="l" rtl="0" eaLnBrk="0" fontAlgn="base" hangingPunct="0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SzPct val="60000"/>
              <a:buChar char="•"/>
              <a:defRPr sz="1050">
                <a:solidFill>
                  <a:schemeClr val="tx1"/>
                </a:solidFill>
                <a:latin typeface="+mn-lt"/>
              </a:defRPr>
            </a:lvl3pPr>
            <a:lvl4pPr marL="3202781" indent="-1714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500">
                <a:solidFill>
                  <a:schemeClr val="tx1"/>
                </a:solidFill>
                <a:latin typeface="+mn-lt"/>
              </a:defRPr>
            </a:lvl4pPr>
            <a:lvl5pPr marL="3375422" indent="-1714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500">
                <a:solidFill>
                  <a:schemeClr val="tx1"/>
                </a:solidFill>
                <a:latin typeface="+mn-lt"/>
              </a:defRPr>
            </a:lvl5pPr>
            <a:lvl6pPr marL="3718322" indent="-1714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500">
                <a:solidFill>
                  <a:schemeClr val="tx1"/>
                </a:solidFill>
                <a:latin typeface="+mn-lt"/>
              </a:defRPr>
            </a:lvl6pPr>
            <a:lvl7pPr marL="4061222" indent="-1714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500">
                <a:solidFill>
                  <a:schemeClr val="tx1"/>
                </a:solidFill>
                <a:latin typeface="+mn-lt"/>
              </a:defRPr>
            </a:lvl7pPr>
            <a:lvl8pPr marL="4404122" indent="-1714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500">
                <a:solidFill>
                  <a:schemeClr val="tx1"/>
                </a:solidFill>
                <a:latin typeface="+mn-lt"/>
              </a:defRPr>
            </a:lvl8pPr>
            <a:lvl9pPr marL="4747022" indent="-1714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5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en-US" sz="2000" kern="0" dirty="0">
                <a:solidFill>
                  <a:srgbClr val="002776"/>
                </a:solidFill>
              </a:rPr>
              <a:t>Client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400" dirty="0"/>
              <a:t>Client inserts PIN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400" dirty="0"/>
              <a:t>Client hashes the PIN and sends the (what algorithm?) code to the </a:t>
            </a:r>
            <a:r>
              <a:rPr lang="en-US" sz="1400"/>
              <a:t>ATM server </a:t>
            </a:r>
            <a:endParaRPr lang="en-US" sz="1400" dirty="0"/>
          </a:p>
          <a:p>
            <a:pPr>
              <a:buFont typeface="Arial" panose="020B0604020202020204" pitchFamily="34" charset="0"/>
              <a:buChar char="•"/>
            </a:pPr>
            <a:endParaRPr lang="en-US" kern="0" dirty="0">
              <a:solidFill>
                <a:srgbClr val="002776"/>
              </a:solidFill>
            </a:endParaRP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BBB12413-66EF-4771-8372-528B9B7058B1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auto">
          <a:xfrm>
            <a:off x="5059562" y="1252326"/>
            <a:ext cx="2114054" cy="2831306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>
            <a:lvl1pPr marL="148829" indent="-148829" algn="l" rtl="0" eaLnBrk="0" fontAlgn="base" hangingPunct="0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8606" indent="-128588" algn="l" rtl="0" eaLnBrk="0" fontAlgn="base" hangingPunct="0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Char char="–"/>
              <a:defRPr sz="1050">
                <a:solidFill>
                  <a:schemeClr val="tx1"/>
                </a:solidFill>
                <a:latin typeface="+mn-lt"/>
              </a:defRPr>
            </a:lvl2pPr>
            <a:lvl3pPr marL="435769" indent="-155972" algn="l" rtl="0" eaLnBrk="0" fontAlgn="base" hangingPunct="0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SzPct val="60000"/>
              <a:buChar char="•"/>
              <a:defRPr sz="1050">
                <a:solidFill>
                  <a:schemeClr val="tx1"/>
                </a:solidFill>
                <a:latin typeface="+mn-lt"/>
              </a:defRPr>
            </a:lvl3pPr>
            <a:lvl4pPr marL="3202781" indent="-1714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500">
                <a:solidFill>
                  <a:schemeClr val="tx1"/>
                </a:solidFill>
                <a:latin typeface="+mn-lt"/>
              </a:defRPr>
            </a:lvl4pPr>
            <a:lvl5pPr marL="3375422" indent="-1714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500">
                <a:solidFill>
                  <a:schemeClr val="tx1"/>
                </a:solidFill>
                <a:latin typeface="+mn-lt"/>
              </a:defRPr>
            </a:lvl5pPr>
            <a:lvl6pPr marL="3718322" indent="-1714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500">
                <a:solidFill>
                  <a:schemeClr val="tx1"/>
                </a:solidFill>
                <a:latin typeface="+mn-lt"/>
              </a:defRPr>
            </a:lvl6pPr>
            <a:lvl7pPr marL="4061222" indent="-1714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500">
                <a:solidFill>
                  <a:schemeClr val="tx1"/>
                </a:solidFill>
                <a:latin typeface="+mn-lt"/>
              </a:defRPr>
            </a:lvl7pPr>
            <a:lvl8pPr marL="4404122" indent="-1714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500">
                <a:solidFill>
                  <a:schemeClr val="tx1"/>
                </a:solidFill>
                <a:latin typeface="+mn-lt"/>
              </a:defRPr>
            </a:lvl8pPr>
            <a:lvl9pPr marL="4747022" indent="-1714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5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en-US" sz="2000" kern="0" dirty="0">
                <a:solidFill>
                  <a:schemeClr val="bg1"/>
                </a:solidFill>
              </a:rPr>
              <a:t>Server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</a:rPr>
              <a:t>The server has a copy of the Hash of the User’s PIN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</a:rPr>
              <a:t>The server compares the incoming hash from the client and the stored hash. </a:t>
            </a:r>
          </a:p>
          <a:p>
            <a:pPr marL="0" indent="0">
              <a:buNone/>
            </a:pPr>
            <a:endParaRPr lang="en-US" sz="1400" dirty="0">
              <a:solidFill>
                <a:schemeClr val="bg1"/>
              </a:solidFill>
            </a:endParaRPr>
          </a:p>
          <a:p>
            <a:pPr marL="0" indent="0">
              <a:buNone/>
            </a:pPr>
            <a:endParaRPr lang="en-US" sz="1400" kern="0" dirty="0">
              <a:solidFill>
                <a:schemeClr val="bg1"/>
              </a:solidFill>
            </a:endParaRPr>
          </a:p>
        </p:txBody>
      </p:sp>
      <p:grpSp>
        <p:nvGrpSpPr>
          <p:cNvPr id="9" name="Group 89">
            <a:extLst>
              <a:ext uri="{FF2B5EF4-FFF2-40B4-BE49-F238E27FC236}">
                <a16:creationId xmlns:a16="http://schemas.microsoft.com/office/drawing/2014/main" id="{9AAB8540-99D6-4621-87B7-95380926C5F1}"/>
              </a:ext>
            </a:extLst>
          </p:cNvPr>
          <p:cNvGrpSpPr>
            <a:grpSpLocks/>
          </p:cNvGrpSpPr>
          <p:nvPr/>
        </p:nvGrpSpPr>
        <p:grpSpPr bwMode="auto">
          <a:xfrm>
            <a:off x="7643747" y="320040"/>
            <a:ext cx="1079599" cy="161925"/>
            <a:chOff x="852" y="3385"/>
            <a:chExt cx="906" cy="136"/>
          </a:xfrm>
          <a:noFill/>
        </p:grpSpPr>
        <p:sp>
          <p:nvSpPr>
            <p:cNvPr id="10" name="AutoShape 90">
              <a:extLst>
                <a:ext uri="{FF2B5EF4-FFF2-40B4-BE49-F238E27FC236}">
                  <a16:creationId xmlns:a16="http://schemas.microsoft.com/office/drawing/2014/main" id="{3D1CD0CD-C939-4FB8-B4EB-A4E40426FAF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9" y="3385"/>
              <a:ext cx="226" cy="136"/>
            </a:xfrm>
            <a:prstGeom prst="chevron">
              <a:avLst>
                <a:gd name="adj" fmla="val 41544"/>
              </a:avLst>
            </a:prstGeom>
            <a:grp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1" name="AutoShape 91">
              <a:extLst>
                <a:ext uri="{FF2B5EF4-FFF2-40B4-BE49-F238E27FC236}">
                  <a16:creationId xmlns:a16="http://schemas.microsoft.com/office/drawing/2014/main" id="{BC1BAAC8-2A5E-4174-AEB3-4B24F55CB27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6" y="3385"/>
              <a:ext cx="225" cy="136"/>
            </a:xfrm>
            <a:prstGeom prst="chevron">
              <a:avLst>
                <a:gd name="adj" fmla="val 41544"/>
              </a:avLst>
            </a:prstGeom>
            <a:solidFill>
              <a:srgbClr val="002060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2" name="AutoShape 92">
              <a:extLst>
                <a:ext uri="{FF2B5EF4-FFF2-40B4-BE49-F238E27FC236}">
                  <a16:creationId xmlns:a16="http://schemas.microsoft.com/office/drawing/2014/main" id="{1B297BDD-2831-4825-84AC-67986672A5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2" y="3385"/>
              <a:ext cx="226" cy="136"/>
            </a:xfrm>
            <a:prstGeom prst="chevron">
              <a:avLst>
                <a:gd name="adj" fmla="val 41544"/>
              </a:avLst>
            </a:prstGeom>
            <a:grp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3" name="AutoShape 93">
              <a:extLst>
                <a:ext uri="{FF2B5EF4-FFF2-40B4-BE49-F238E27FC236}">
                  <a16:creationId xmlns:a16="http://schemas.microsoft.com/office/drawing/2014/main" id="{D425663C-BCB6-4983-A05A-F2B82D24734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2" y="3385"/>
              <a:ext cx="227" cy="136"/>
            </a:xfrm>
            <a:prstGeom prst="homePlate">
              <a:avLst>
                <a:gd name="adj" fmla="val 41728"/>
              </a:avLst>
            </a:prstGeom>
            <a:grp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</p:grpSp>
    </p:spTree>
    <p:extLst>
      <p:ext uri="{BB962C8B-B14F-4D97-AF65-F5344CB8AC3E}">
        <p14:creationId xmlns:p14="http://schemas.microsoft.com/office/powerpoint/2010/main" val="153505959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77F78C27-7EE3-4B08-8A5D-3CCFC52D2A1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0A6F4C6-2E2E-469F-AFDE-663D3656D5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Four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3DFF24C-86F0-45AE-9AED-FB7EFBF040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bas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901B474-ED2A-4402-8049-26AD48EDE1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07EE3-A7AD-4D85-AA70-E0A9F1A7BE8D}" type="slidenum">
              <a:rPr lang="en-US" smtClean="0"/>
              <a:pPr/>
              <a:t>8</a:t>
            </a:fld>
            <a:endParaRPr lang="en-US" dirty="0"/>
          </a:p>
        </p:txBody>
      </p:sp>
      <p:grpSp>
        <p:nvGrpSpPr>
          <p:cNvPr id="6" name="Group 89">
            <a:extLst>
              <a:ext uri="{FF2B5EF4-FFF2-40B4-BE49-F238E27FC236}">
                <a16:creationId xmlns:a16="http://schemas.microsoft.com/office/drawing/2014/main" id="{D36C7889-8975-4792-BD83-C528181D0F3B}"/>
              </a:ext>
            </a:extLst>
          </p:cNvPr>
          <p:cNvGrpSpPr>
            <a:grpSpLocks/>
          </p:cNvGrpSpPr>
          <p:nvPr/>
        </p:nvGrpSpPr>
        <p:grpSpPr bwMode="auto">
          <a:xfrm>
            <a:off x="7643747" y="320040"/>
            <a:ext cx="1079599" cy="161925"/>
            <a:chOff x="852" y="3385"/>
            <a:chExt cx="906" cy="136"/>
          </a:xfrm>
          <a:noFill/>
        </p:grpSpPr>
        <p:sp>
          <p:nvSpPr>
            <p:cNvPr id="7" name="AutoShape 90">
              <a:extLst>
                <a:ext uri="{FF2B5EF4-FFF2-40B4-BE49-F238E27FC236}">
                  <a16:creationId xmlns:a16="http://schemas.microsoft.com/office/drawing/2014/main" id="{43AC6045-B1AE-4AE7-B2B2-3F16C10AC7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9" y="3385"/>
              <a:ext cx="226" cy="136"/>
            </a:xfrm>
            <a:prstGeom prst="chevron">
              <a:avLst>
                <a:gd name="adj" fmla="val 41544"/>
              </a:avLst>
            </a:prstGeom>
            <a:grp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8" name="AutoShape 91">
              <a:extLst>
                <a:ext uri="{FF2B5EF4-FFF2-40B4-BE49-F238E27FC236}">
                  <a16:creationId xmlns:a16="http://schemas.microsoft.com/office/drawing/2014/main" id="{EB87E504-39CF-4323-83A1-CA9DB01C918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6" y="3385"/>
              <a:ext cx="225" cy="136"/>
            </a:xfrm>
            <a:prstGeom prst="chevron">
              <a:avLst>
                <a:gd name="adj" fmla="val 41544"/>
              </a:avLst>
            </a:prstGeom>
            <a:grp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9" name="AutoShape 92">
              <a:extLst>
                <a:ext uri="{FF2B5EF4-FFF2-40B4-BE49-F238E27FC236}">
                  <a16:creationId xmlns:a16="http://schemas.microsoft.com/office/drawing/2014/main" id="{98D5F53E-FCC4-414C-A5C1-10EBCDC833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2" y="3385"/>
              <a:ext cx="226" cy="136"/>
            </a:xfrm>
            <a:prstGeom prst="chevron">
              <a:avLst>
                <a:gd name="adj" fmla="val 41544"/>
              </a:avLst>
            </a:prstGeom>
            <a:solidFill>
              <a:srgbClr val="002060"/>
            </a:solidFill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  <p:sp>
          <p:nvSpPr>
            <p:cNvPr id="10" name="AutoShape 93">
              <a:extLst>
                <a:ext uri="{FF2B5EF4-FFF2-40B4-BE49-F238E27FC236}">
                  <a16:creationId xmlns:a16="http://schemas.microsoft.com/office/drawing/2014/main" id="{B67AEC13-7A91-44F0-ABFE-625E525421D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2" y="3385"/>
              <a:ext cx="227" cy="136"/>
            </a:xfrm>
            <a:prstGeom prst="homePlate">
              <a:avLst>
                <a:gd name="adj" fmla="val 41728"/>
              </a:avLst>
            </a:prstGeom>
            <a:grpFill/>
            <a:ln w="6350" algn="ctr">
              <a:solidFill>
                <a:srgbClr val="002060"/>
              </a:solidFill>
              <a:miter lim="800000"/>
              <a:headEnd type="none" w="sm" len="sm"/>
              <a:tailEnd type="none" w="med" len="lg"/>
            </a:ln>
          </p:spPr>
          <p:txBody>
            <a:bodyPr tIns="68580" bIns="68580" anchor="ctr"/>
            <a:lstStyle/>
            <a:p>
              <a:pPr algn="ctr">
                <a:defRPr/>
              </a:pPr>
              <a:endParaRPr lang="en-GB" sz="1214" dirty="0"/>
            </a:p>
          </p:txBody>
        </p:sp>
      </p:grpSp>
    </p:spTree>
    <p:extLst>
      <p:ext uri="{BB962C8B-B14F-4D97-AF65-F5344CB8AC3E}">
        <p14:creationId xmlns:p14="http://schemas.microsoft.com/office/powerpoint/2010/main" val="8313932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447C9CBA-ADD4-4F09-AAA3-8564CBF6FF3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6871" y="869816"/>
            <a:ext cx="4062599" cy="368108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1D8ADAE-A647-46D7-AB6E-418F9ECC21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oup Four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B7F0B7C-3F12-4563-AD80-493B98D624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rther Pot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A749CD9-F80D-45C4-809A-17411F51AD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07EE3-A7AD-4D85-AA70-E0A9F1A7BE8D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36798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4HlJlZm0CjKMuYM430e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wndjEEqEWPqMsBhKHgL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xLrrOCaz0eHC7QB3XXmT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BqD51GcP0OR2MwSqkkeCA"/>
</p:tagLst>
</file>

<file path=ppt/theme/theme1.xml><?xml version="1.0" encoding="utf-8"?>
<a:theme xmlns:a="http://schemas.openxmlformats.org/drawingml/2006/main" name="Office Theme">
  <a:themeElements>
    <a:clrScheme name="Custom 1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727CA3"/>
      </a:accent1>
      <a:accent2>
        <a:srgbClr val="9FB8CD"/>
      </a:accent2>
      <a:accent3>
        <a:srgbClr val="D2DA7A"/>
      </a:accent3>
      <a:accent4>
        <a:srgbClr val="FADA7A"/>
      </a:accent4>
      <a:accent5>
        <a:srgbClr val="B88472"/>
      </a:accent5>
      <a:accent6>
        <a:srgbClr val="8E736A"/>
      </a:accent6>
      <a:hlink>
        <a:srgbClr val="0000FF"/>
      </a:hlink>
      <a:folHlink>
        <a:srgbClr val="FF00FF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509</TotalTime>
  <Words>198</Words>
  <Application>Microsoft Office PowerPoint</Application>
  <PresentationFormat>On-screen Show (16:9)</PresentationFormat>
  <Paragraphs>70</Paragraphs>
  <Slides>9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6" baseType="lpstr">
      <vt:lpstr>Arial</vt:lpstr>
      <vt:lpstr>Bookman Old Style</vt:lpstr>
      <vt:lpstr>Calibri</vt:lpstr>
      <vt:lpstr>Gill Sans MT</vt:lpstr>
      <vt:lpstr>Times New Roman</vt:lpstr>
      <vt:lpstr>Wingdings</vt:lpstr>
      <vt:lpstr>Office Theme</vt:lpstr>
      <vt:lpstr>ATM Project</vt:lpstr>
      <vt:lpstr>Overview</vt:lpstr>
      <vt:lpstr>Core Functionality</vt:lpstr>
      <vt:lpstr>User Interface</vt:lpstr>
      <vt:lpstr>Login Screen and Validation</vt:lpstr>
      <vt:lpstr>Sign Up Screen</vt:lpstr>
      <vt:lpstr>Encryption and Security</vt:lpstr>
      <vt:lpstr>Database</vt:lpstr>
      <vt:lpstr>Further Potential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ryce Yoo</dc:creator>
  <cp:lastModifiedBy>Andrew Quijano</cp:lastModifiedBy>
  <cp:revision>253</cp:revision>
  <dcterms:created xsi:type="dcterms:W3CDTF">2017-10-26T16:02:00Z</dcterms:created>
  <dcterms:modified xsi:type="dcterms:W3CDTF">2018-03-01T00:00:34Z</dcterms:modified>
</cp:coreProperties>
</file>